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2" r:id="rId1"/>
  </p:sldMasterIdLst>
  <p:notesMasterIdLst>
    <p:notesMasterId r:id="rId6"/>
  </p:notesMasterIdLst>
  <p:sldIdLst>
    <p:sldId id="256" r:id="rId2"/>
    <p:sldId id="258" r:id="rId3"/>
    <p:sldId id="259" r:id="rId4"/>
    <p:sldId id="260" r:id="rId5"/>
  </p:sldIdLst>
  <p:sldSz cx="12192000" cy="6858000"/>
  <p:notesSz cx="6797675" cy="9926638"/>
  <p:custDataLst>
    <p:tags r:id="rId7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1158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5" pos="744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777777"/>
    <a:srgbClr val="9F9F9F"/>
    <a:srgbClr val="000000"/>
    <a:srgbClr val="404040"/>
    <a:srgbClr val="DC2328"/>
    <a:srgbClr val="F7F7F7"/>
    <a:srgbClr val="FFEDE7"/>
    <a:srgbClr val="E54E14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76" autoAdjust="0"/>
    <p:restoredTop sz="94634" autoAdjust="0"/>
  </p:normalViewPr>
  <p:slideViewPr>
    <p:cSldViewPr snapToGrid="0" snapToObjects="1">
      <p:cViewPr varScale="1">
        <p:scale>
          <a:sx n="110" d="100"/>
          <a:sy n="110" d="100"/>
        </p:scale>
        <p:origin x="582" y="108"/>
      </p:cViewPr>
      <p:guideLst>
        <p:guide orient="horz" pos="2160"/>
        <p:guide orient="horz" pos="1158"/>
        <p:guide pos="3840"/>
        <p:guide pos="249"/>
        <p:guide pos="74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EC70D-4580-42B2-81EC-7CC938A9B4CB}" type="datetimeFigureOut">
              <a:rPr lang="de-DE" smtClean="0"/>
              <a:t>04.03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EABBC5-8D52-46A0-BE18-9544BF03650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2781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schl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33568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118" y="1518814"/>
            <a:ext cx="3490286" cy="435485"/>
          </a:xfrm>
          <a:prstGeom prst="rect">
            <a:avLst/>
          </a:prstGeom>
        </p:spPr>
      </p:pic>
      <p:sp>
        <p:nvSpPr>
          <p:cNvPr id="20" name="Titel 1"/>
          <p:cNvSpPr>
            <a:spLocks noGrp="1"/>
          </p:cNvSpPr>
          <p:nvPr>
            <p:ph type="ctrTitle" hasCustomPrompt="1"/>
          </p:nvPr>
        </p:nvSpPr>
        <p:spPr>
          <a:xfrm>
            <a:off x="383117" y="2060761"/>
            <a:ext cx="11425767" cy="1511114"/>
          </a:xfrm>
        </p:spPr>
        <p:txBody>
          <a:bodyPr anchor="ctr" anchorCtr="0"/>
          <a:lstStyle>
            <a:lvl1pPr algn="l">
              <a:defRPr sz="5400" b="0" cap="none" baseline="0">
                <a:solidFill>
                  <a:schemeClr val="tx1"/>
                </a:solidFill>
                <a:latin typeface="TT Norms Pro" panose="02000503030000020003" pitchFamily="50" charset="0"/>
              </a:defRPr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3118" y="3754906"/>
            <a:ext cx="6882921" cy="912014"/>
          </a:xfrm>
        </p:spPr>
        <p:txBody>
          <a:bodyPr anchor="ctr">
            <a:normAutofit/>
          </a:bodyPr>
          <a:lstStyle>
            <a:lvl1pPr marL="0" indent="0" algn="l">
              <a:buNone/>
              <a:defRPr sz="3200" b="0">
                <a:solidFill>
                  <a:schemeClr val="tx1"/>
                </a:solidFill>
                <a:latin typeface="TT Norms Pro" panose="02000503030000020003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Untertitel</a:t>
            </a:r>
            <a:endParaRPr lang="de-DE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4773382"/>
            <a:ext cx="1928284" cy="242554"/>
          </a:xfrm>
        </p:spPr>
        <p:txBody>
          <a:bodyPr vert="horz" lIns="0" tIns="0" rIns="0" bIns="0" rtlCol="0" anchor="ctr"/>
          <a:lstStyle>
            <a:lvl1pPr marL="0" indent="0">
              <a:buNone/>
              <a:defRPr lang="de-DE" sz="1050" i="0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en-US" dirty="0" smtClean="0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1592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- Akz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581" y="245113"/>
            <a:ext cx="2843304" cy="354760"/>
          </a:xfrm>
          <a:prstGeom prst="rect">
            <a:avLst/>
          </a:prstGeom>
        </p:spPr>
      </p:pic>
      <p:sp>
        <p:nvSpPr>
          <p:cNvPr id="4" name="Slide Number Placeholder 1"/>
          <p:cNvSpPr txBox="1">
            <a:spLocks/>
          </p:cNvSpPr>
          <p:nvPr userDrawn="1"/>
        </p:nvSpPr>
        <p:spPr>
          <a:xfrm>
            <a:off x="11248897" y="6464028"/>
            <a:ext cx="556268" cy="24761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457200" rtl="0" eaLnBrk="1" latinLnBrk="0" hangingPunct="1">
              <a:defRPr sz="1050" i="0" kern="1200">
                <a:solidFill>
                  <a:schemeClr val="tx1"/>
                </a:solidFill>
                <a:latin typeface="TT Norms Pro Normal" panose="02000503030000020003" pitchFamily="50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FF98F-BF98-654A-B0D9-855B0DB8C86F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T Norms Pro Normal" panose="02000503030000020003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T Norms Pro Normal" panose="02000503030000020003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3582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- Akz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581" y="245113"/>
            <a:ext cx="2843304" cy="354760"/>
          </a:xfrm>
          <a:prstGeom prst="rect">
            <a:avLst/>
          </a:prstGeom>
        </p:spPr>
      </p:pic>
      <p:sp>
        <p:nvSpPr>
          <p:cNvPr id="4" name="Slide Number Placeholder 1"/>
          <p:cNvSpPr txBox="1">
            <a:spLocks/>
          </p:cNvSpPr>
          <p:nvPr userDrawn="1"/>
        </p:nvSpPr>
        <p:spPr>
          <a:xfrm>
            <a:off x="11248897" y="6464028"/>
            <a:ext cx="556268" cy="24761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457200" rtl="0" eaLnBrk="1" latinLnBrk="0" hangingPunct="1">
              <a:defRPr sz="1050" i="0" kern="1200">
                <a:solidFill>
                  <a:schemeClr val="tx1"/>
                </a:solidFill>
                <a:latin typeface="TT Norms Pro Normal" panose="02000503030000020003" pitchFamily="50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FF98F-BF98-654A-B0D9-855B0DB8C86F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T Norms Pro Normal" panose="02000503030000020003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T Norms Pro Normal" panose="02000503030000020003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10420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- schl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/>
          </p:cNvSpPr>
          <p:nvPr userDrawn="1"/>
        </p:nvSpPr>
        <p:spPr bwMode="auto">
          <a:xfrm rot="10800000">
            <a:off x="-1" y="-1"/>
            <a:ext cx="3448050" cy="6874377"/>
          </a:xfrm>
          <a:custGeom>
            <a:avLst/>
            <a:gdLst>
              <a:gd name="T0" fmla="*/ 265 w 265"/>
              <a:gd name="T1" fmla="*/ 50 h 531"/>
              <a:gd name="T2" fmla="*/ 265 w 265"/>
              <a:gd name="T3" fmla="*/ 0 h 531"/>
              <a:gd name="T4" fmla="*/ 0 w 265"/>
              <a:gd name="T5" fmla="*/ 266 h 531"/>
              <a:gd name="T6" fmla="*/ 265 w 265"/>
              <a:gd name="T7" fmla="*/ 531 h 531"/>
              <a:gd name="T8" fmla="*/ 265 w 265"/>
              <a:gd name="T9" fmla="*/ 481 h 531"/>
              <a:gd name="T10" fmla="*/ 50 w 265"/>
              <a:gd name="T11" fmla="*/ 266 h 531"/>
              <a:gd name="T12" fmla="*/ 265 w 265"/>
              <a:gd name="T13" fmla="*/ 5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5" h="531">
                <a:moveTo>
                  <a:pt x="265" y="50"/>
                </a:moveTo>
                <a:cubicBezTo>
                  <a:pt x="265" y="0"/>
                  <a:pt x="265" y="0"/>
                  <a:pt x="265" y="0"/>
                </a:cubicBezTo>
                <a:cubicBezTo>
                  <a:pt x="119" y="0"/>
                  <a:pt x="0" y="119"/>
                  <a:pt x="0" y="266"/>
                </a:cubicBezTo>
                <a:cubicBezTo>
                  <a:pt x="0" y="412"/>
                  <a:pt x="119" y="531"/>
                  <a:pt x="265" y="531"/>
                </a:cubicBezTo>
                <a:cubicBezTo>
                  <a:pt x="265" y="481"/>
                  <a:pt x="265" y="481"/>
                  <a:pt x="265" y="481"/>
                </a:cubicBezTo>
                <a:cubicBezTo>
                  <a:pt x="147" y="481"/>
                  <a:pt x="50" y="384"/>
                  <a:pt x="50" y="266"/>
                </a:cubicBezTo>
                <a:cubicBezTo>
                  <a:pt x="50" y="147"/>
                  <a:pt x="147" y="50"/>
                  <a:pt x="265" y="50"/>
                </a:cubicBezTo>
                <a:close/>
              </a:path>
            </a:pathLst>
          </a:custGeom>
          <a:solidFill>
            <a:srgbClr val="579E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4171951" y="762000"/>
            <a:ext cx="7636934" cy="5448300"/>
          </a:xfrm>
        </p:spPr>
        <p:txBody>
          <a:bodyPr anchor="ctr" anchorCtr="0"/>
          <a:lstStyle>
            <a:lvl1pPr algn="l">
              <a:defRPr sz="5400" b="0" cap="none" baseline="0">
                <a:solidFill>
                  <a:schemeClr val="tx1"/>
                </a:solidFill>
                <a:latin typeface="TT Norms Pro" panose="02000503030000020003" pitchFamily="50" charset="0"/>
              </a:defRPr>
            </a:lvl1pPr>
          </a:lstStyle>
          <a:p>
            <a:r>
              <a:rPr lang="de-DE" dirty="0" smtClean="0"/>
              <a:t>Zitat durch Klicken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47662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-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sp>
        <p:nvSpPr>
          <p:cNvPr id="12" name="Freihandform 11"/>
          <p:cNvSpPr/>
          <p:nvPr userDrawn="1"/>
        </p:nvSpPr>
        <p:spPr>
          <a:xfrm>
            <a:off x="332723" y="-1"/>
            <a:ext cx="8642556" cy="6858000"/>
          </a:xfrm>
          <a:custGeom>
            <a:avLst/>
            <a:gdLst>
              <a:gd name="connsiteX0" fmla="*/ 1692788 w 8642556"/>
              <a:gd name="connsiteY0" fmla="*/ 0 h 6858000"/>
              <a:gd name="connsiteX1" fmla="*/ 6949769 w 8642556"/>
              <a:gd name="connsiteY1" fmla="*/ 0 h 6858000"/>
              <a:gd name="connsiteX2" fmla="*/ 7070012 w 8642556"/>
              <a:gd name="connsiteY2" fmla="*/ 94493 h 6858000"/>
              <a:gd name="connsiteX3" fmla="*/ 8642556 w 8642556"/>
              <a:gd name="connsiteY3" fmla="*/ 3429001 h 6858000"/>
              <a:gd name="connsiteX4" fmla="*/ 7070012 w 8642556"/>
              <a:gd name="connsiteY4" fmla="*/ 6763509 h 6858000"/>
              <a:gd name="connsiteX5" fmla="*/ 6949772 w 8642556"/>
              <a:gd name="connsiteY5" fmla="*/ 6858000 h 6858000"/>
              <a:gd name="connsiteX6" fmla="*/ 1692785 w 8642556"/>
              <a:gd name="connsiteY6" fmla="*/ 6858000 h 6858000"/>
              <a:gd name="connsiteX7" fmla="*/ 1572544 w 8642556"/>
              <a:gd name="connsiteY7" fmla="*/ 6763509 h 6858000"/>
              <a:gd name="connsiteX8" fmla="*/ 0 w 8642556"/>
              <a:gd name="connsiteY8" fmla="*/ 3429001 h 6858000"/>
              <a:gd name="connsiteX9" fmla="*/ 1572544 w 8642556"/>
              <a:gd name="connsiteY9" fmla="*/ 944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42556" h="6858000">
                <a:moveTo>
                  <a:pt x="1692788" y="0"/>
                </a:moveTo>
                <a:lnTo>
                  <a:pt x="6949769" y="0"/>
                </a:lnTo>
                <a:lnTo>
                  <a:pt x="7070012" y="94493"/>
                </a:lnTo>
                <a:cubicBezTo>
                  <a:pt x="8030404" y="887079"/>
                  <a:pt x="8642556" y="2086552"/>
                  <a:pt x="8642556" y="3429001"/>
                </a:cubicBezTo>
                <a:cubicBezTo>
                  <a:pt x="8642556" y="4771450"/>
                  <a:pt x="8030404" y="5970924"/>
                  <a:pt x="7070012" y="6763509"/>
                </a:cubicBezTo>
                <a:lnTo>
                  <a:pt x="6949772" y="6858000"/>
                </a:lnTo>
                <a:lnTo>
                  <a:pt x="1692785" y="6858000"/>
                </a:lnTo>
                <a:lnTo>
                  <a:pt x="1572544" y="6763509"/>
                </a:lnTo>
                <a:cubicBezTo>
                  <a:pt x="612152" y="5970924"/>
                  <a:pt x="0" y="4771450"/>
                  <a:pt x="0" y="3429001"/>
                </a:cubicBezTo>
                <a:cubicBezTo>
                  <a:pt x="0" y="2086552"/>
                  <a:pt x="612152" y="887079"/>
                  <a:pt x="1572544" y="94493"/>
                </a:cubicBezTo>
                <a:close/>
              </a:path>
            </a:pathLst>
          </a:custGeom>
          <a:solidFill>
            <a:schemeClr val="accent3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 userDrawn="1">
            <p:ph type="ctrTitle" hasCustomPrompt="1"/>
          </p:nvPr>
        </p:nvSpPr>
        <p:spPr>
          <a:xfrm>
            <a:off x="800101" y="762000"/>
            <a:ext cx="7636934" cy="5448300"/>
          </a:xfrm>
        </p:spPr>
        <p:txBody>
          <a:bodyPr anchor="ctr" anchorCtr="0"/>
          <a:lstStyle>
            <a:lvl1pPr algn="l">
              <a:defRPr sz="5400" b="0" cap="none" baseline="0">
                <a:solidFill>
                  <a:schemeClr val="bg1"/>
                </a:solidFill>
                <a:latin typeface="TT Norms Pro" panose="02000503030000020003" pitchFamily="50" charset="0"/>
              </a:defRPr>
            </a:lvl1pPr>
          </a:lstStyle>
          <a:p>
            <a:r>
              <a:rPr lang="de-DE" dirty="0" smtClean="0"/>
              <a:t>Zitat durch Klicken hinzufügen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581" y="245113"/>
            <a:ext cx="2843304" cy="354760"/>
          </a:xfrm>
          <a:prstGeom prst="rect">
            <a:avLst/>
          </a:prstGeom>
        </p:spPr>
      </p:pic>
      <p:sp>
        <p:nvSpPr>
          <p:cNvPr id="10" name="Slide Number Placeholder 1"/>
          <p:cNvSpPr txBox="1">
            <a:spLocks/>
          </p:cNvSpPr>
          <p:nvPr userDrawn="1"/>
        </p:nvSpPr>
        <p:spPr>
          <a:xfrm>
            <a:off x="11248897" y="6464028"/>
            <a:ext cx="556268" cy="24761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457200" rtl="0" eaLnBrk="1" latinLnBrk="0" hangingPunct="1">
              <a:defRPr sz="1050" i="0" kern="1200">
                <a:solidFill>
                  <a:schemeClr val="tx1"/>
                </a:solidFill>
                <a:latin typeface="TT Norms Pro Normal" panose="02000503030000020003" pitchFamily="50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FF98F-BF98-654A-B0D9-855B0DB8C86F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T Norms Pro Normal" panose="02000503030000020003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T Norms Pro Normal" panose="02000503030000020003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47493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- schl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098042" y="549621"/>
            <a:ext cx="5957248" cy="5957248"/>
          </a:xfrm>
          <a:custGeom>
            <a:avLst/>
            <a:gdLst>
              <a:gd name="T0" fmla="*/ 266 w 531"/>
              <a:gd name="T1" fmla="*/ 531 h 531"/>
              <a:gd name="T2" fmla="*/ 0 w 531"/>
              <a:gd name="T3" fmla="*/ 266 h 531"/>
              <a:gd name="T4" fmla="*/ 266 w 531"/>
              <a:gd name="T5" fmla="*/ 0 h 531"/>
              <a:gd name="T6" fmla="*/ 531 w 531"/>
              <a:gd name="T7" fmla="*/ 266 h 531"/>
              <a:gd name="T8" fmla="*/ 266 w 531"/>
              <a:gd name="T9" fmla="*/ 531 h 531"/>
              <a:gd name="T10" fmla="*/ 266 w 531"/>
              <a:gd name="T11" fmla="*/ 50 h 531"/>
              <a:gd name="T12" fmla="*/ 50 w 531"/>
              <a:gd name="T13" fmla="*/ 266 h 531"/>
              <a:gd name="T14" fmla="*/ 266 w 531"/>
              <a:gd name="T15" fmla="*/ 481 h 531"/>
              <a:gd name="T16" fmla="*/ 481 w 531"/>
              <a:gd name="T17" fmla="*/ 266 h 531"/>
              <a:gd name="T18" fmla="*/ 266 w 531"/>
              <a:gd name="T19" fmla="*/ 5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31" h="531">
                <a:moveTo>
                  <a:pt x="266" y="531"/>
                </a:moveTo>
                <a:cubicBezTo>
                  <a:pt x="119" y="531"/>
                  <a:pt x="0" y="412"/>
                  <a:pt x="0" y="266"/>
                </a:cubicBezTo>
                <a:cubicBezTo>
                  <a:pt x="0" y="119"/>
                  <a:pt x="119" y="0"/>
                  <a:pt x="266" y="0"/>
                </a:cubicBezTo>
                <a:cubicBezTo>
                  <a:pt x="412" y="0"/>
                  <a:pt x="531" y="119"/>
                  <a:pt x="531" y="266"/>
                </a:cubicBezTo>
                <a:cubicBezTo>
                  <a:pt x="531" y="412"/>
                  <a:pt x="412" y="531"/>
                  <a:pt x="266" y="531"/>
                </a:cubicBezTo>
                <a:close/>
                <a:moveTo>
                  <a:pt x="266" y="50"/>
                </a:moveTo>
                <a:cubicBezTo>
                  <a:pt x="147" y="50"/>
                  <a:pt x="50" y="147"/>
                  <a:pt x="50" y="266"/>
                </a:cubicBezTo>
                <a:cubicBezTo>
                  <a:pt x="50" y="384"/>
                  <a:pt x="147" y="481"/>
                  <a:pt x="266" y="481"/>
                </a:cubicBezTo>
                <a:cubicBezTo>
                  <a:pt x="384" y="481"/>
                  <a:pt x="481" y="384"/>
                  <a:pt x="481" y="266"/>
                </a:cubicBezTo>
                <a:cubicBezTo>
                  <a:pt x="481" y="147"/>
                  <a:pt x="384" y="50"/>
                  <a:pt x="266" y="50"/>
                </a:cubicBezTo>
                <a:close/>
              </a:path>
            </a:pathLst>
          </a:custGeom>
          <a:solidFill>
            <a:srgbClr val="579E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3835021" y="1282891"/>
            <a:ext cx="4476466" cy="4483288"/>
          </a:xfrm>
        </p:spPr>
        <p:txBody>
          <a:bodyPr anchor="ctr" anchorCtr="0"/>
          <a:lstStyle>
            <a:lvl1pPr algn="ctr">
              <a:defRPr sz="5400" b="0" cap="none" baseline="0">
                <a:solidFill>
                  <a:srgbClr val="000000"/>
                </a:solidFill>
                <a:latin typeface="TT Norms Pro" panose="02000503030000020003" pitchFamily="50" charset="0"/>
              </a:defRPr>
            </a:lvl1pPr>
          </a:lstStyle>
          <a:p>
            <a:r>
              <a:rPr lang="de-DE" dirty="0" smtClean="0"/>
              <a:t>Fragen?</a:t>
            </a:r>
            <a:br>
              <a:rPr lang="de-DE" dirty="0" smtClean="0"/>
            </a:br>
            <a:r>
              <a:rPr lang="de-DE" dirty="0" smtClean="0"/>
              <a:t>Frage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6550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-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sp>
        <p:nvSpPr>
          <p:cNvPr id="8" name="Ellipse 7"/>
          <p:cNvSpPr/>
          <p:nvPr userDrawn="1"/>
        </p:nvSpPr>
        <p:spPr>
          <a:xfrm>
            <a:off x="3098042" y="549621"/>
            <a:ext cx="5957248" cy="5957248"/>
          </a:xfrm>
          <a:prstGeom prst="ellipse">
            <a:avLst/>
          </a:prstGeom>
          <a:solidFill>
            <a:schemeClr val="accent3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3835021" y="1282891"/>
            <a:ext cx="4476466" cy="4483288"/>
          </a:xfrm>
        </p:spPr>
        <p:txBody>
          <a:bodyPr anchor="ctr" anchorCtr="0"/>
          <a:lstStyle>
            <a:lvl1pPr algn="ctr">
              <a:defRPr sz="5400" b="0" cap="none" baseline="0">
                <a:solidFill>
                  <a:schemeClr val="bg1"/>
                </a:solidFill>
                <a:latin typeface="TT Norms Pro" panose="02000503030000020003" pitchFamily="50" charset="0"/>
              </a:defRPr>
            </a:lvl1pPr>
          </a:lstStyle>
          <a:p>
            <a:r>
              <a:rPr lang="de-DE" dirty="0" smtClean="0"/>
              <a:t>Fragen?</a:t>
            </a:r>
            <a:br>
              <a:rPr lang="de-DE" dirty="0" smtClean="0"/>
            </a:br>
            <a:r>
              <a:rPr lang="de-DE" dirty="0" smtClean="0"/>
              <a:t>Fragen.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581" y="245113"/>
            <a:ext cx="2843304" cy="354760"/>
          </a:xfrm>
          <a:prstGeom prst="rect">
            <a:avLst/>
          </a:prstGeom>
        </p:spPr>
      </p:pic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11248897" y="6464028"/>
            <a:ext cx="556268" cy="24761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457200" rtl="0" eaLnBrk="1" latinLnBrk="0" hangingPunct="1">
              <a:defRPr sz="1050" i="0" kern="1200">
                <a:solidFill>
                  <a:schemeClr val="tx1"/>
                </a:solidFill>
                <a:latin typeface="TT Norms Pro Normal" panose="02000503030000020003" pitchFamily="50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FF98F-BF98-654A-B0D9-855B0DB8C86F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T Norms Pro Normal" panose="02000503030000020003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T Norms Pro Normal" panose="02000503030000020003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3478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inder Logo - schl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007" y="2776737"/>
            <a:ext cx="6093985" cy="130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6411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inder Logo -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sp>
        <p:nvSpPr>
          <p:cNvPr id="52" name="Freihandform 51"/>
          <p:cNvSpPr/>
          <p:nvPr userDrawn="1"/>
        </p:nvSpPr>
        <p:spPr>
          <a:xfrm>
            <a:off x="2265869" y="0"/>
            <a:ext cx="8044438" cy="6858000"/>
          </a:xfrm>
          <a:custGeom>
            <a:avLst/>
            <a:gdLst>
              <a:gd name="connsiteX0" fmla="*/ 1685914 w 8044438"/>
              <a:gd name="connsiteY0" fmla="*/ 0 h 6858000"/>
              <a:gd name="connsiteX1" fmla="*/ 6358524 w 8044438"/>
              <a:gd name="connsiteY1" fmla="*/ 0 h 6858000"/>
              <a:gd name="connsiteX2" fmla="*/ 6428777 w 8044438"/>
              <a:gd name="connsiteY2" fmla="*/ 49958 h 6858000"/>
              <a:gd name="connsiteX3" fmla="*/ 8044438 w 8044438"/>
              <a:gd name="connsiteY3" fmla="*/ 3273104 h 6858000"/>
              <a:gd name="connsiteX4" fmla="*/ 5939448 w 8044438"/>
              <a:gd name="connsiteY4" fmla="*/ 6809863 h 6858000"/>
              <a:gd name="connsiteX5" fmla="*/ 5845461 w 8044438"/>
              <a:gd name="connsiteY5" fmla="*/ 6858000 h 6858000"/>
              <a:gd name="connsiteX6" fmla="*/ 2198978 w 8044438"/>
              <a:gd name="connsiteY6" fmla="*/ 6858000 h 6858000"/>
              <a:gd name="connsiteX7" fmla="*/ 2104991 w 8044438"/>
              <a:gd name="connsiteY7" fmla="*/ 6809863 h 6858000"/>
              <a:gd name="connsiteX8" fmla="*/ 0 w 8044438"/>
              <a:gd name="connsiteY8" fmla="*/ 3273104 h 6858000"/>
              <a:gd name="connsiteX9" fmla="*/ 1615662 w 8044438"/>
              <a:gd name="connsiteY9" fmla="*/ 499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44438" h="6858000">
                <a:moveTo>
                  <a:pt x="1685914" y="0"/>
                </a:moveTo>
                <a:lnTo>
                  <a:pt x="6358524" y="0"/>
                </a:lnTo>
                <a:lnTo>
                  <a:pt x="6428777" y="49958"/>
                </a:lnTo>
                <a:cubicBezTo>
                  <a:pt x="7409583" y="783458"/>
                  <a:pt x="8044438" y="1954142"/>
                  <a:pt x="8044438" y="3273104"/>
                </a:cubicBezTo>
                <a:cubicBezTo>
                  <a:pt x="8044438" y="4800324"/>
                  <a:pt x="7193274" y="6128743"/>
                  <a:pt x="5939448" y="6809863"/>
                </a:cubicBezTo>
                <a:lnTo>
                  <a:pt x="5845461" y="6858000"/>
                </a:lnTo>
                <a:lnTo>
                  <a:pt x="2198978" y="6858000"/>
                </a:lnTo>
                <a:lnTo>
                  <a:pt x="2104991" y="6809863"/>
                </a:lnTo>
                <a:cubicBezTo>
                  <a:pt x="851164" y="6128743"/>
                  <a:pt x="0" y="4800324"/>
                  <a:pt x="0" y="3273104"/>
                </a:cubicBezTo>
                <a:cubicBezTo>
                  <a:pt x="0" y="1954142"/>
                  <a:pt x="634856" y="783458"/>
                  <a:pt x="1615662" y="49958"/>
                </a:cubicBezTo>
                <a:close/>
              </a:path>
            </a:pathLst>
          </a:custGeom>
          <a:solidFill>
            <a:schemeClr val="accent3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grpSp>
        <p:nvGrpSpPr>
          <p:cNvPr id="49" name="Gruppieren 48"/>
          <p:cNvGrpSpPr/>
          <p:nvPr userDrawn="1"/>
        </p:nvGrpSpPr>
        <p:grpSpPr>
          <a:xfrm>
            <a:off x="3051176" y="2774951"/>
            <a:ext cx="6089650" cy="1304925"/>
            <a:chOff x="3051176" y="2774951"/>
            <a:chExt cx="6089650" cy="1304925"/>
          </a:xfrm>
          <a:solidFill>
            <a:schemeClr val="bg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3905251" y="2846388"/>
              <a:ext cx="84138" cy="528638"/>
            </a:xfrm>
            <a:custGeom>
              <a:avLst/>
              <a:gdLst>
                <a:gd name="T0" fmla="*/ 33 w 67"/>
                <a:gd name="T1" fmla="*/ 0 h 424"/>
                <a:gd name="T2" fmla="*/ 67 w 67"/>
                <a:gd name="T3" fmla="*/ 33 h 424"/>
                <a:gd name="T4" fmla="*/ 33 w 67"/>
                <a:gd name="T5" fmla="*/ 67 h 424"/>
                <a:gd name="T6" fmla="*/ 0 w 67"/>
                <a:gd name="T7" fmla="*/ 33 h 424"/>
                <a:gd name="T8" fmla="*/ 33 w 67"/>
                <a:gd name="T9" fmla="*/ 0 h 424"/>
                <a:gd name="T10" fmla="*/ 9 w 67"/>
                <a:gd name="T11" fmla="*/ 129 h 424"/>
                <a:gd name="T12" fmla="*/ 61 w 67"/>
                <a:gd name="T13" fmla="*/ 129 h 424"/>
                <a:gd name="T14" fmla="*/ 61 w 67"/>
                <a:gd name="T15" fmla="*/ 424 h 424"/>
                <a:gd name="T16" fmla="*/ 9 w 67"/>
                <a:gd name="T17" fmla="*/ 424 h 424"/>
                <a:gd name="T18" fmla="*/ 9 w 67"/>
                <a:gd name="T19" fmla="*/ 12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424">
                  <a:moveTo>
                    <a:pt x="33" y="0"/>
                  </a:move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3" y="67"/>
                  </a:cubicBez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lose/>
                  <a:moveTo>
                    <a:pt x="9" y="129"/>
                  </a:moveTo>
                  <a:cubicBezTo>
                    <a:pt x="61" y="129"/>
                    <a:pt x="61" y="129"/>
                    <a:pt x="61" y="129"/>
                  </a:cubicBezTo>
                  <a:cubicBezTo>
                    <a:pt x="61" y="424"/>
                    <a:pt x="61" y="424"/>
                    <a:pt x="61" y="424"/>
                  </a:cubicBezTo>
                  <a:cubicBezTo>
                    <a:pt x="9" y="424"/>
                    <a:pt x="9" y="424"/>
                    <a:pt x="9" y="424"/>
                  </a:cubicBezTo>
                  <a:lnTo>
                    <a:pt x="9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4083051" y="3000376"/>
              <a:ext cx="328613" cy="374650"/>
            </a:xfrm>
            <a:custGeom>
              <a:avLst/>
              <a:gdLst>
                <a:gd name="T0" fmla="*/ 0 w 265"/>
                <a:gd name="T1" fmla="*/ 6 h 301"/>
                <a:gd name="T2" fmla="*/ 53 w 265"/>
                <a:gd name="T3" fmla="*/ 6 h 301"/>
                <a:gd name="T4" fmla="*/ 53 w 265"/>
                <a:gd name="T5" fmla="*/ 49 h 301"/>
                <a:gd name="T6" fmla="*/ 146 w 265"/>
                <a:gd name="T7" fmla="*/ 0 h 301"/>
                <a:gd name="T8" fmla="*/ 265 w 265"/>
                <a:gd name="T9" fmla="*/ 129 h 301"/>
                <a:gd name="T10" fmla="*/ 265 w 265"/>
                <a:gd name="T11" fmla="*/ 301 h 301"/>
                <a:gd name="T12" fmla="*/ 212 w 265"/>
                <a:gd name="T13" fmla="*/ 301 h 301"/>
                <a:gd name="T14" fmla="*/ 212 w 265"/>
                <a:gd name="T15" fmla="*/ 129 h 301"/>
                <a:gd name="T16" fmla="*/ 139 w 265"/>
                <a:gd name="T17" fmla="*/ 49 h 301"/>
                <a:gd name="T18" fmla="*/ 53 w 265"/>
                <a:gd name="T19" fmla="*/ 141 h 301"/>
                <a:gd name="T20" fmla="*/ 53 w 265"/>
                <a:gd name="T21" fmla="*/ 301 h 301"/>
                <a:gd name="T22" fmla="*/ 0 w 265"/>
                <a:gd name="T23" fmla="*/ 301 h 301"/>
                <a:gd name="T24" fmla="*/ 0 w 265"/>
                <a:gd name="T25" fmla="*/ 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5" h="301">
                  <a:moveTo>
                    <a:pt x="0" y="6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83" y="0"/>
                    <a:pt x="146" y="0"/>
                  </a:cubicBezTo>
                  <a:cubicBezTo>
                    <a:pt x="216" y="0"/>
                    <a:pt x="265" y="49"/>
                    <a:pt x="265" y="129"/>
                  </a:cubicBezTo>
                  <a:cubicBezTo>
                    <a:pt x="265" y="301"/>
                    <a:pt x="265" y="301"/>
                    <a:pt x="265" y="301"/>
                  </a:cubicBezTo>
                  <a:cubicBezTo>
                    <a:pt x="212" y="301"/>
                    <a:pt x="212" y="301"/>
                    <a:pt x="212" y="301"/>
                  </a:cubicBezTo>
                  <a:cubicBezTo>
                    <a:pt x="212" y="129"/>
                    <a:pt x="212" y="129"/>
                    <a:pt x="212" y="129"/>
                  </a:cubicBezTo>
                  <a:cubicBezTo>
                    <a:pt x="212" y="80"/>
                    <a:pt x="182" y="49"/>
                    <a:pt x="139" y="49"/>
                  </a:cubicBezTo>
                  <a:cubicBezTo>
                    <a:pt x="89" y="49"/>
                    <a:pt x="53" y="86"/>
                    <a:pt x="53" y="141"/>
                  </a:cubicBezTo>
                  <a:cubicBezTo>
                    <a:pt x="53" y="301"/>
                    <a:pt x="53" y="301"/>
                    <a:pt x="53" y="301"/>
                  </a:cubicBezTo>
                  <a:cubicBezTo>
                    <a:pt x="0" y="301"/>
                    <a:pt x="0" y="301"/>
                    <a:pt x="0" y="30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460876" y="2884488"/>
              <a:ext cx="234950" cy="498475"/>
            </a:xfrm>
            <a:custGeom>
              <a:avLst/>
              <a:gdLst>
                <a:gd name="T0" fmla="*/ 56 w 188"/>
                <a:gd name="T1" fmla="*/ 148 h 400"/>
                <a:gd name="T2" fmla="*/ 0 w 188"/>
                <a:gd name="T3" fmla="*/ 148 h 400"/>
                <a:gd name="T4" fmla="*/ 0 w 188"/>
                <a:gd name="T5" fmla="*/ 99 h 400"/>
                <a:gd name="T6" fmla="*/ 34 w 188"/>
                <a:gd name="T7" fmla="*/ 99 h 400"/>
                <a:gd name="T8" fmla="*/ 59 w 188"/>
                <a:gd name="T9" fmla="*/ 68 h 400"/>
                <a:gd name="T10" fmla="*/ 59 w 188"/>
                <a:gd name="T11" fmla="*/ 0 h 400"/>
                <a:gd name="T12" fmla="*/ 108 w 188"/>
                <a:gd name="T13" fmla="*/ 0 h 400"/>
                <a:gd name="T14" fmla="*/ 108 w 188"/>
                <a:gd name="T15" fmla="*/ 99 h 400"/>
                <a:gd name="T16" fmla="*/ 176 w 188"/>
                <a:gd name="T17" fmla="*/ 99 h 400"/>
                <a:gd name="T18" fmla="*/ 176 w 188"/>
                <a:gd name="T19" fmla="*/ 148 h 400"/>
                <a:gd name="T20" fmla="*/ 108 w 188"/>
                <a:gd name="T21" fmla="*/ 148 h 400"/>
                <a:gd name="T22" fmla="*/ 108 w 188"/>
                <a:gd name="T23" fmla="*/ 305 h 400"/>
                <a:gd name="T24" fmla="*/ 149 w 188"/>
                <a:gd name="T25" fmla="*/ 351 h 400"/>
                <a:gd name="T26" fmla="*/ 188 w 188"/>
                <a:gd name="T27" fmla="*/ 342 h 400"/>
                <a:gd name="T28" fmla="*/ 188 w 188"/>
                <a:gd name="T29" fmla="*/ 391 h 400"/>
                <a:gd name="T30" fmla="*/ 145 w 188"/>
                <a:gd name="T31" fmla="*/ 400 h 400"/>
                <a:gd name="T32" fmla="*/ 56 w 188"/>
                <a:gd name="T33" fmla="*/ 308 h 400"/>
                <a:gd name="T34" fmla="*/ 56 w 188"/>
                <a:gd name="T35" fmla="*/ 148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8" h="400">
                  <a:moveTo>
                    <a:pt x="56" y="148"/>
                  </a:moveTo>
                  <a:cubicBezTo>
                    <a:pt x="0" y="148"/>
                    <a:pt x="0" y="148"/>
                    <a:pt x="0" y="148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34" y="99"/>
                    <a:pt x="34" y="99"/>
                    <a:pt x="34" y="99"/>
                  </a:cubicBezTo>
                  <a:cubicBezTo>
                    <a:pt x="50" y="99"/>
                    <a:pt x="59" y="90"/>
                    <a:pt x="59" y="68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76" y="99"/>
                    <a:pt x="176" y="99"/>
                    <a:pt x="176" y="99"/>
                  </a:cubicBezTo>
                  <a:cubicBezTo>
                    <a:pt x="176" y="148"/>
                    <a:pt x="176" y="148"/>
                    <a:pt x="176" y="148"/>
                  </a:cubicBezTo>
                  <a:cubicBezTo>
                    <a:pt x="108" y="148"/>
                    <a:pt x="108" y="148"/>
                    <a:pt x="108" y="148"/>
                  </a:cubicBezTo>
                  <a:cubicBezTo>
                    <a:pt x="108" y="305"/>
                    <a:pt x="108" y="305"/>
                    <a:pt x="108" y="305"/>
                  </a:cubicBezTo>
                  <a:cubicBezTo>
                    <a:pt x="108" y="336"/>
                    <a:pt x="123" y="351"/>
                    <a:pt x="149" y="351"/>
                  </a:cubicBezTo>
                  <a:cubicBezTo>
                    <a:pt x="169" y="351"/>
                    <a:pt x="188" y="342"/>
                    <a:pt x="188" y="342"/>
                  </a:cubicBezTo>
                  <a:cubicBezTo>
                    <a:pt x="188" y="391"/>
                    <a:pt x="188" y="391"/>
                    <a:pt x="188" y="391"/>
                  </a:cubicBezTo>
                  <a:cubicBezTo>
                    <a:pt x="188" y="391"/>
                    <a:pt x="169" y="400"/>
                    <a:pt x="145" y="400"/>
                  </a:cubicBezTo>
                  <a:cubicBezTo>
                    <a:pt x="86" y="400"/>
                    <a:pt x="56" y="369"/>
                    <a:pt x="56" y="308"/>
                  </a:cubicBezTo>
                  <a:lnTo>
                    <a:pt x="56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4730751" y="3000376"/>
              <a:ext cx="365125" cy="382588"/>
            </a:xfrm>
            <a:custGeom>
              <a:avLst/>
              <a:gdLst>
                <a:gd name="T0" fmla="*/ 277 w 293"/>
                <a:gd name="T1" fmla="*/ 249 h 307"/>
                <a:gd name="T2" fmla="*/ 154 w 293"/>
                <a:gd name="T3" fmla="*/ 307 h 307"/>
                <a:gd name="T4" fmla="*/ 0 w 293"/>
                <a:gd name="T5" fmla="*/ 153 h 307"/>
                <a:gd name="T6" fmla="*/ 148 w 293"/>
                <a:gd name="T7" fmla="*/ 0 h 307"/>
                <a:gd name="T8" fmla="*/ 293 w 293"/>
                <a:gd name="T9" fmla="*/ 144 h 307"/>
                <a:gd name="T10" fmla="*/ 289 w 293"/>
                <a:gd name="T11" fmla="*/ 172 h 307"/>
                <a:gd name="T12" fmla="*/ 56 w 293"/>
                <a:gd name="T13" fmla="*/ 172 h 307"/>
                <a:gd name="T14" fmla="*/ 154 w 293"/>
                <a:gd name="T15" fmla="*/ 258 h 307"/>
                <a:gd name="T16" fmla="*/ 243 w 293"/>
                <a:gd name="T17" fmla="*/ 215 h 307"/>
                <a:gd name="T18" fmla="*/ 277 w 293"/>
                <a:gd name="T19" fmla="*/ 249 h 307"/>
                <a:gd name="T20" fmla="*/ 240 w 293"/>
                <a:gd name="T21" fmla="*/ 126 h 307"/>
                <a:gd name="T22" fmla="*/ 148 w 293"/>
                <a:gd name="T23" fmla="*/ 49 h 307"/>
                <a:gd name="T24" fmla="*/ 56 w 293"/>
                <a:gd name="T25" fmla="*/ 126 h 307"/>
                <a:gd name="T26" fmla="*/ 240 w 293"/>
                <a:gd name="T27" fmla="*/ 12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3" h="307">
                  <a:moveTo>
                    <a:pt x="277" y="249"/>
                  </a:moveTo>
                  <a:cubicBezTo>
                    <a:pt x="277" y="249"/>
                    <a:pt x="237" y="307"/>
                    <a:pt x="154" y="307"/>
                  </a:cubicBezTo>
                  <a:cubicBezTo>
                    <a:pt x="68" y="307"/>
                    <a:pt x="0" y="239"/>
                    <a:pt x="0" y="153"/>
                  </a:cubicBezTo>
                  <a:cubicBezTo>
                    <a:pt x="0" y="67"/>
                    <a:pt x="68" y="0"/>
                    <a:pt x="148" y="0"/>
                  </a:cubicBezTo>
                  <a:cubicBezTo>
                    <a:pt x="231" y="0"/>
                    <a:pt x="293" y="61"/>
                    <a:pt x="293" y="144"/>
                  </a:cubicBezTo>
                  <a:cubicBezTo>
                    <a:pt x="293" y="160"/>
                    <a:pt x="289" y="172"/>
                    <a:pt x="289" y="172"/>
                  </a:cubicBezTo>
                  <a:cubicBezTo>
                    <a:pt x="56" y="172"/>
                    <a:pt x="56" y="172"/>
                    <a:pt x="56" y="172"/>
                  </a:cubicBezTo>
                  <a:cubicBezTo>
                    <a:pt x="62" y="218"/>
                    <a:pt x="102" y="258"/>
                    <a:pt x="154" y="258"/>
                  </a:cubicBezTo>
                  <a:cubicBezTo>
                    <a:pt x="213" y="258"/>
                    <a:pt x="243" y="215"/>
                    <a:pt x="243" y="215"/>
                  </a:cubicBezTo>
                  <a:lnTo>
                    <a:pt x="277" y="249"/>
                  </a:lnTo>
                  <a:close/>
                  <a:moveTo>
                    <a:pt x="240" y="126"/>
                  </a:moveTo>
                  <a:cubicBezTo>
                    <a:pt x="231" y="83"/>
                    <a:pt x="197" y="49"/>
                    <a:pt x="148" y="49"/>
                  </a:cubicBezTo>
                  <a:cubicBezTo>
                    <a:pt x="99" y="49"/>
                    <a:pt x="65" y="83"/>
                    <a:pt x="56" y="126"/>
                  </a:cubicBezTo>
                  <a:lnTo>
                    <a:pt x="24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5172076" y="3000376"/>
              <a:ext cx="200025" cy="374650"/>
            </a:xfrm>
            <a:custGeom>
              <a:avLst/>
              <a:gdLst>
                <a:gd name="T0" fmla="*/ 0 w 160"/>
                <a:gd name="T1" fmla="*/ 6 h 301"/>
                <a:gd name="T2" fmla="*/ 52 w 160"/>
                <a:gd name="T3" fmla="*/ 6 h 301"/>
                <a:gd name="T4" fmla="*/ 52 w 160"/>
                <a:gd name="T5" fmla="*/ 46 h 301"/>
                <a:gd name="T6" fmla="*/ 147 w 160"/>
                <a:gd name="T7" fmla="*/ 0 h 301"/>
                <a:gd name="T8" fmla="*/ 160 w 160"/>
                <a:gd name="T9" fmla="*/ 0 h 301"/>
                <a:gd name="T10" fmla="*/ 160 w 160"/>
                <a:gd name="T11" fmla="*/ 55 h 301"/>
                <a:gd name="T12" fmla="*/ 138 w 160"/>
                <a:gd name="T13" fmla="*/ 52 h 301"/>
                <a:gd name="T14" fmla="*/ 52 w 160"/>
                <a:gd name="T15" fmla="*/ 144 h 301"/>
                <a:gd name="T16" fmla="*/ 52 w 160"/>
                <a:gd name="T17" fmla="*/ 301 h 301"/>
                <a:gd name="T18" fmla="*/ 0 w 160"/>
                <a:gd name="T19" fmla="*/ 301 h 301"/>
                <a:gd name="T20" fmla="*/ 0 w 160"/>
                <a:gd name="T21" fmla="*/ 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301">
                  <a:moveTo>
                    <a:pt x="0" y="6"/>
                  </a:moveTo>
                  <a:cubicBezTo>
                    <a:pt x="52" y="6"/>
                    <a:pt x="52" y="6"/>
                    <a:pt x="52" y="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83" y="0"/>
                    <a:pt x="147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0" y="55"/>
                    <a:pt x="160" y="55"/>
                    <a:pt x="160" y="55"/>
                  </a:cubicBezTo>
                  <a:cubicBezTo>
                    <a:pt x="160" y="55"/>
                    <a:pt x="150" y="52"/>
                    <a:pt x="138" y="52"/>
                  </a:cubicBezTo>
                  <a:cubicBezTo>
                    <a:pt x="89" y="52"/>
                    <a:pt x="52" y="89"/>
                    <a:pt x="52" y="144"/>
                  </a:cubicBezTo>
                  <a:cubicBezTo>
                    <a:pt x="52" y="301"/>
                    <a:pt x="52" y="301"/>
                    <a:pt x="52" y="301"/>
                  </a:cubicBezTo>
                  <a:cubicBezTo>
                    <a:pt x="0" y="301"/>
                    <a:pt x="0" y="301"/>
                    <a:pt x="0" y="30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5429251" y="2838451"/>
              <a:ext cx="328613" cy="536575"/>
            </a:xfrm>
            <a:custGeom>
              <a:avLst/>
              <a:gdLst>
                <a:gd name="T0" fmla="*/ 0 w 265"/>
                <a:gd name="T1" fmla="*/ 0 h 431"/>
                <a:gd name="T2" fmla="*/ 53 w 265"/>
                <a:gd name="T3" fmla="*/ 0 h 431"/>
                <a:gd name="T4" fmla="*/ 53 w 265"/>
                <a:gd name="T5" fmla="*/ 179 h 431"/>
                <a:gd name="T6" fmla="*/ 145 w 265"/>
                <a:gd name="T7" fmla="*/ 130 h 431"/>
                <a:gd name="T8" fmla="*/ 265 w 265"/>
                <a:gd name="T9" fmla="*/ 259 h 431"/>
                <a:gd name="T10" fmla="*/ 265 w 265"/>
                <a:gd name="T11" fmla="*/ 431 h 431"/>
                <a:gd name="T12" fmla="*/ 213 w 265"/>
                <a:gd name="T13" fmla="*/ 431 h 431"/>
                <a:gd name="T14" fmla="*/ 213 w 265"/>
                <a:gd name="T15" fmla="*/ 259 h 431"/>
                <a:gd name="T16" fmla="*/ 139 w 265"/>
                <a:gd name="T17" fmla="*/ 179 h 431"/>
                <a:gd name="T18" fmla="*/ 53 w 265"/>
                <a:gd name="T19" fmla="*/ 268 h 431"/>
                <a:gd name="T20" fmla="*/ 53 w 265"/>
                <a:gd name="T21" fmla="*/ 431 h 431"/>
                <a:gd name="T22" fmla="*/ 0 w 265"/>
                <a:gd name="T23" fmla="*/ 431 h 431"/>
                <a:gd name="T24" fmla="*/ 0 w 265"/>
                <a:gd name="T25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5" h="431">
                  <a:moveTo>
                    <a:pt x="0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179"/>
                    <a:pt x="53" y="179"/>
                    <a:pt x="53" y="179"/>
                  </a:cubicBezTo>
                  <a:cubicBezTo>
                    <a:pt x="53" y="179"/>
                    <a:pt x="83" y="130"/>
                    <a:pt x="145" y="130"/>
                  </a:cubicBezTo>
                  <a:cubicBezTo>
                    <a:pt x="216" y="130"/>
                    <a:pt x="265" y="179"/>
                    <a:pt x="265" y="259"/>
                  </a:cubicBezTo>
                  <a:cubicBezTo>
                    <a:pt x="265" y="431"/>
                    <a:pt x="265" y="431"/>
                    <a:pt x="265" y="431"/>
                  </a:cubicBezTo>
                  <a:cubicBezTo>
                    <a:pt x="213" y="431"/>
                    <a:pt x="213" y="431"/>
                    <a:pt x="213" y="431"/>
                  </a:cubicBezTo>
                  <a:cubicBezTo>
                    <a:pt x="213" y="259"/>
                    <a:pt x="213" y="259"/>
                    <a:pt x="213" y="259"/>
                  </a:cubicBezTo>
                  <a:cubicBezTo>
                    <a:pt x="213" y="210"/>
                    <a:pt x="182" y="179"/>
                    <a:pt x="139" y="179"/>
                  </a:cubicBezTo>
                  <a:cubicBezTo>
                    <a:pt x="89" y="179"/>
                    <a:pt x="53" y="216"/>
                    <a:pt x="53" y="268"/>
                  </a:cubicBezTo>
                  <a:cubicBezTo>
                    <a:pt x="53" y="431"/>
                    <a:pt x="53" y="431"/>
                    <a:pt x="53" y="431"/>
                  </a:cubicBezTo>
                  <a:cubicBezTo>
                    <a:pt x="0" y="431"/>
                    <a:pt x="0" y="431"/>
                    <a:pt x="0" y="43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5794376" y="3006726"/>
              <a:ext cx="358775" cy="528638"/>
            </a:xfrm>
            <a:custGeom>
              <a:avLst/>
              <a:gdLst>
                <a:gd name="T0" fmla="*/ 15 w 289"/>
                <a:gd name="T1" fmla="*/ 369 h 424"/>
                <a:gd name="T2" fmla="*/ 49 w 289"/>
                <a:gd name="T3" fmla="*/ 375 h 424"/>
                <a:gd name="T4" fmla="*/ 104 w 289"/>
                <a:gd name="T5" fmla="*/ 332 h 424"/>
                <a:gd name="T6" fmla="*/ 120 w 289"/>
                <a:gd name="T7" fmla="*/ 295 h 424"/>
                <a:gd name="T8" fmla="*/ 0 w 289"/>
                <a:gd name="T9" fmla="*/ 0 h 424"/>
                <a:gd name="T10" fmla="*/ 55 w 289"/>
                <a:gd name="T11" fmla="*/ 0 h 424"/>
                <a:gd name="T12" fmla="*/ 144 w 289"/>
                <a:gd name="T13" fmla="*/ 227 h 424"/>
                <a:gd name="T14" fmla="*/ 233 w 289"/>
                <a:gd name="T15" fmla="*/ 0 h 424"/>
                <a:gd name="T16" fmla="*/ 289 w 289"/>
                <a:gd name="T17" fmla="*/ 0 h 424"/>
                <a:gd name="T18" fmla="*/ 157 w 289"/>
                <a:gd name="T19" fmla="*/ 335 h 424"/>
                <a:gd name="T20" fmla="*/ 58 w 289"/>
                <a:gd name="T21" fmla="*/ 424 h 424"/>
                <a:gd name="T22" fmla="*/ 15 w 289"/>
                <a:gd name="T23" fmla="*/ 418 h 424"/>
                <a:gd name="T24" fmla="*/ 15 w 289"/>
                <a:gd name="T25" fmla="*/ 36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" h="424">
                  <a:moveTo>
                    <a:pt x="15" y="369"/>
                  </a:moveTo>
                  <a:cubicBezTo>
                    <a:pt x="15" y="369"/>
                    <a:pt x="30" y="375"/>
                    <a:pt x="49" y="375"/>
                  </a:cubicBezTo>
                  <a:cubicBezTo>
                    <a:pt x="77" y="375"/>
                    <a:pt x="93" y="360"/>
                    <a:pt x="104" y="332"/>
                  </a:cubicBezTo>
                  <a:cubicBezTo>
                    <a:pt x="120" y="295"/>
                    <a:pt x="120" y="295"/>
                    <a:pt x="120" y="2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144" y="227"/>
                    <a:pt x="144" y="227"/>
                    <a:pt x="144" y="227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157" y="335"/>
                    <a:pt x="157" y="335"/>
                    <a:pt x="157" y="335"/>
                  </a:cubicBezTo>
                  <a:cubicBezTo>
                    <a:pt x="132" y="396"/>
                    <a:pt x="104" y="424"/>
                    <a:pt x="58" y="424"/>
                  </a:cubicBezTo>
                  <a:cubicBezTo>
                    <a:pt x="34" y="424"/>
                    <a:pt x="15" y="418"/>
                    <a:pt x="15" y="418"/>
                  </a:cubicBezTo>
                  <a:lnTo>
                    <a:pt x="15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6207126" y="3000376"/>
              <a:ext cx="366713" cy="534988"/>
            </a:xfrm>
            <a:custGeom>
              <a:avLst/>
              <a:gdLst>
                <a:gd name="T0" fmla="*/ 0 w 295"/>
                <a:gd name="T1" fmla="*/ 6 h 430"/>
                <a:gd name="T2" fmla="*/ 52 w 295"/>
                <a:gd name="T3" fmla="*/ 6 h 430"/>
                <a:gd name="T4" fmla="*/ 52 w 295"/>
                <a:gd name="T5" fmla="*/ 49 h 430"/>
                <a:gd name="T6" fmla="*/ 154 w 295"/>
                <a:gd name="T7" fmla="*/ 0 h 430"/>
                <a:gd name="T8" fmla="*/ 295 w 295"/>
                <a:gd name="T9" fmla="*/ 153 h 430"/>
                <a:gd name="T10" fmla="*/ 154 w 295"/>
                <a:gd name="T11" fmla="*/ 307 h 430"/>
                <a:gd name="T12" fmla="*/ 52 w 295"/>
                <a:gd name="T13" fmla="*/ 258 h 430"/>
                <a:gd name="T14" fmla="*/ 52 w 295"/>
                <a:gd name="T15" fmla="*/ 430 h 430"/>
                <a:gd name="T16" fmla="*/ 0 w 295"/>
                <a:gd name="T17" fmla="*/ 430 h 430"/>
                <a:gd name="T18" fmla="*/ 0 w 295"/>
                <a:gd name="T19" fmla="*/ 6 h 430"/>
                <a:gd name="T20" fmla="*/ 243 w 295"/>
                <a:gd name="T21" fmla="*/ 153 h 430"/>
                <a:gd name="T22" fmla="*/ 148 w 295"/>
                <a:gd name="T23" fmla="*/ 49 h 430"/>
                <a:gd name="T24" fmla="*/ 52 w 295"/>
                <a:gd name="T25" fmla="*/ 153 h 430"/>
                <a:gd name="T26" fmla="*/ 148 w 295"/>
                <a:gd name="T27" fmla="*/ 258 h 430"/>
                <a:gd name="T28" fmla="*/ 243 w 295"/>
                <a:gd name="T29" fmla="*/ 153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5" h="430">
                  <a:moveTo>
                    <a:pt x="0" y="6"/>
                  </a:moveTo>
                  <a:cubicBezTo>
                    <a:pt x="52" y="6"/>
                    <a:pt x="52" y="6"/>
                    <a:pt x="52" y="6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2" y="49"/>
                    <a:pt x="83" y="0"/>
                    <a:pt x="154" y="0"/>
                  </a:cubicBezTo>
                  <a:cubicBezTo>
                    <a:pt x="231" y="0"/>
                    <a:pt x="295" y="64"/>
                    <a:pt x="295" y="153"/>
                  </a:cubicBezTo>
                  <a:cubicBezTo>
                    <a:pt x="295" y="243"/>
                    <a:pt x="231" y="307"/>
                    <a:pt x="154" y="307"/>
                  </a:cubicBezTo>
                  <a:cubicBezTo>
                    <a:pt x="83" y="307"/>
                    <a:pt x="52" y="258"/>
                    <a:pt x="52" y="258"/>
                  </a:cubicBezTo>
                  <a:cubicBezTo>
                    <a:pt x="52" y="430"/>
                    <a:pt x="52" y="430"/>
                    <a:pt x="52" y="430"/>
                  </a:cubicBezTo>
                  <a:cubicBezTo>
                    <a:pt x="0" y="430"/>
                    <a:pt x="0" y="430"/>
                    <a:pt x="0" y="430"/>
                  </a:cubicBezTo>
                  <a:lnTo>
                    <a:pt x="0" y="6"/>
                  </a:lnTo>
                  <a:close/>
                  <a:moveTo>
                    <a:pt x="243" y="153"/>
                  </a:moveTo>
                  <a:cubicBezTo>
                    <a:pt x="243" y="92"/>
                    <a:pt x="200" y="49"/>
                    <a:pt x="148" y="49"/>
                  </a:cubicBezTo>
                  <a:cubicBezTo>
                    <a:pt x="95" y="49"/>
                    <a:pt x="52" y="92"/>
                    <a:pt x="52" y="153"/>
                  </a:cubicBezTo>
                  <a:cubicBezTo>
                    <a:pt x="52" y="215"/>
                    <a:pt x="95" y="258"/>
                    <a:pt x="148" y="258"/>
                  </a:cubicBezTo>
                  <a:cubicBezTo>
                    <a:pt x="200" y="258"/>
                    <a:pt x="243" y="215"/>
                    <a:pt x="243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6773863" y="3000376"/>
              <a:ext cx="352425" cy="534988"/>
            </a:xfrm>
            <a:custGeom>
              <a:avLst/>
              <a:gdLst>
                <a:gd name="T0" fmla="*/ 43 w 283"/>
                <a:gd name="T1" fmla="*/ 335 h 430"/>
                <a:gd name="T2" fmla="*/ 135 w 283"/>
                <a:gd name="T3" fmla="*/ 381 h 430"/>
                <a:gd name="T4" fmla="*/ 230 w 283"/>
                <a:gd name="T5" fmla="*/ 279 h 430"/>
                <a:gd name="T6" fmla="*/ 230 w 283"/>
                <a:gd name="T7" fmla="*/ 249 h 430"/>
                <a:gd name="T8" fmla="*/ 135 w 283"/>
                <a:gd name="T9" fmla="*/ 295 h 430"/>
                <a:gd name="T10" fmla="*/ 0 w 283"/>
                <a:gd name="T11" fmla="*/ 147 h 430"/>
                <a:gd name="T12" fmla="*/ 135 w 283"/>
                <a:gd name="T13" fmla="*/ 0 h 430"/>
                <a:gd name="T14" fmla="*/ 230 w 283"/>
                <a:gd name="T15" fmla="*/ 46 h 430"/>
                <a:gd name="T16" fmla="*/ 230 w 283"/>
                <a:gd name="T17" fmla="*/ 6 h 430"/>
                <a:gd name="T18" fmla="*/ 283 w 283"/>
                <a:gd name="T19" fmla="*/ 6 h 430"/>
                <a:gd name="T20" fmla="*/ 283 w 283"/>
                <a:gd name="T21" fmla="*/ 279 h 430"/>
                <a:gd name="T22" fmla="*/ 135 w 283"/>
                <a:gd name="T23" fmla="*/ 430 h 430"/>
                <a:gd name="T24" fmla="*/ 9 w 283"/>
                <a:gd name="T25" fmla="*/ 369 h 430"/>
                <a:gd name="T26" fmla="*/ 43 w 283"/>
                <a:gd name="T27" fmla="*/ 335 h 430"/>
                <a:gd name="T28" fmla="*/ 230 w 283"/>
                <a:gd name="T29" fmla="*/ 147 h 430"/>
                <a:gd name="T30" fmla="*/ 141 w 283"/>
                <a:gd name="T31" fmla="*/ 49 h 430"/>
                <a:gd name="T32" fmla="*/ 52 w 283"/>
                <a:gd name="T33" fmla="*/ 147 h 430"/>
                <a:gd name="T34" fmla="*/ 141 w 283"/>
                <a:gd name="T35" fmla="*/ 246 h 430"/>
                <a:gd name="T36" fmla="*/ 230 w 283"/>
                <a:gd name="T37" fmla="*/ 147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3" h="430">
                  <a:moveTo>
                    <a:pt x="43" y="335"/>
                  </a:moveTo>
                  <a:cubicBezTo>
                    <a:pt x="43" y="335"/>
                    <a:pt x="77" y="381"/>
                    <a:pt x="135" y="381"/>
                  </a:cubicBezTo>
                  <a:cubicBezTo>
                    <a:pt x="190" y="381"/>
                    <a:pt x="230" y="341"/>
                    <a:pt x="230" y="279"/>
                  </a:cubicBezTo>
                  <a:cubicBezTo>
                    <a:pt x="230" y="249"/>
                    <a:pt x="230" y="249"/>
                    <a:pt x="230" y="249"/>
                  </a:cubicBezTo>
                  <a:cubicBezTo>
                    <a:pt x="230" y="249"/>
                    <a:pt x="203" y="295"/>
                    <a:pt x="135" y="295"/>
                  </a:cubicBezTo>
                  <a:cubicBezTo>
                    <a:pt x="61" y="295"/>
                    <a:pt x="0" y="233"/>
                    <a:pt x="0" y="147"/>
                  </a:cubicBezTo>
                  <a:cubicBezTo>
                    <a:pt x="0" y="61"/>
                    <a:pt x="61" y="0"/>
                    <a:pt x="135" y="0"/>
                  </a:cubicBezTo>
                  <a:cubicBezTo>
                    <a:pt x="203" y="0"/>
                    <a:pt x="230" y="46"/>
                    <a:pt x="230" y="46"/>
                  </a:cubicBezTo>
                  <a:cubicBezTo>
                    <a:pt x="230" y="6"/>
                    <a:pt x="230" y="6"/>
                    <a:pt x="230" y="6"/>
                  </a:cubicBezTo>
                  <a:cubicBezTo>
                    <a:pt x="283" y="6"/>
                    <a:pt x="283" y="6"/>
                    <a:pt x="283" y="6"/>
                  </a:cubicBezTo>
                  <a:cubicBezTo>
                    <a:pt x="283" y="279"/>
                    <a:pt x="283" y="279"/>
                    <a:pt x="283" y="279"/>
                  </a:cubicBezTo>
                  <a:cubicBezTo>
                    <a:pt x="283" y="366"/>
                    <a:pt x="218" y="430"/>
                    <a:pt x="135" y="430"/>
                  </a:cubicBezTo>
                  <a:cubicBezTo>
                    <a:pt x="52" y="430"/>
                    <a:pt x="9" y="369"/>
                    <a:pt x="9" y="369"/>
                  </a:cubicBezTo>
                  <a:lnTo>
                    <a:pt x="43" y="335"/>
                  </a:lnTo>
                  <a:close/>
                  <a:moveTo>
                    <a:pt x="230" y="147"/>
                  </a:moveTo>
                  <a:cubicBezTo>
                    <a:pt x="230" y="89"/>
                    <a:pt x="197" y="49"/>
                    <a:pt x="141" y="49"/>
                  </a:cubicBezTo>
                  <a:cubicBezTo>
                    <a:pt x="92" y="49"/>
                    <a:pt x="52" y="89"/>
                    <a:pt x="52" y="147"/>
                  </a:cubicBezTo>
                  <a:cubicBezTo>
                    <a:pt x="52" y="206"/>
                    <a:pt x="92" y="246"/>
                    <a:pt x="141" y="246"/>
                  </a:cubicBezTo>
                  <a:cubicBezTo>
                    <a:pt x="192" y="246"/>
                    <a:pt x="230" y="204"/>
                    <a:pt x="230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7226301" y="3000376"/>
              <a:ext cx="198438" cy="374650"/>
            </a:xfrm>
            <a:custGeom>
              <a:avLst/>
              <a:gdLst>
                <a:gd name="T0" fmla="*/ 0 w 160"/>
                <a:gd name="T1" fmla="*/ 6 h 301"/>
                <a:gd name="T2" fmla="*/ 52 w 160"/>
                <a:gd name="T3" fmla="*/ 6 h 301"/>
                <a:gd name="T4" fmla="*/ 52 w 160"/>
                <a:gd name="T5" fmla="*/ 46 h 301"/>
                <a:gd name="T6" fmla="*/ 148 w 160"/>
                <a:gd name="T7" fmla="*/ 0 h 301"/>
                <a:gd name="T8" fmla="*/ 160 w 160"/>
                <a:gd name="T9" fmla="*/ 0 h 301"/>
                <a:gd name="T10" fmla="*/ 160 w 160"/>
                <a:gd name="T11" fmla="*/ 55 h 301"/>
                <a:gd name="T12" fmla="*/ 139 w 160"/>
                <a:gd name="T13" fmla="*/ 52 h 301"/>
                <a:gd name="T14" fmla="*/ 52 w 160"/>
                <a:gd name="T15" fmla="*/ 144 h 301"/>
                <a:gd name="T16" fmla="*/ 52 w 160"/>
                <a:gd name="T17" fmla="*/ 301 h 301"/>
                <a:gd name="T18" fmla="*/ 0 w 160"/>
                <a:gd name="T19" fmla="*/ 301 h 301"/>
                <a:gd name="T20" fmla="*/ 0 w 160"/>
                <a:gd name="T21" fmla="*/ 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301">
                  <a:moveTo>
                    <a:pt x="0" y="6"/>
                  </a:moveTo>
                  <a:cubicBezTo>
                    <a:pt x="52" y="6"/>
                    <a:pt x="52" y="6"/>
                    <a:pt x="52" y="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83" y="0"/>
                    <a:pt x="148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0" y="55"/>
                    <a:pt x="160" y="55"/>
                    <a:pt x="160" y="55"/>
                  </a:cubicBezTo>
                  <a:cubicBezTo>
                    <a:pt x="160" y="55"/>
                    <a:pt x="151" y="52"/>
                    <a:pt x="139" y="52"/>
                  </a:cubicBezTo>
                  <a:cubicBezTo>
                    <a:pt x="89" y="52"/>
                    <a:pt x="52" y="89"/>
                    <a:pt x="52" y="144"/>
                  </a:cubicBezTo>
                  <a:cubicBezTo>
                    <a:pt x="52" y="301"/>
                    <a:pt x="52" y="301"/>
                    <a:pt x="52" y="301"/>
                  </a:cubicBezTo>
                  <a:cubicBezTo>
                    <a:pt x="0" y="301"/>
                    <a:pt x="0" y="301"/>
                    <a:pt x="0" y="30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7480301" y="3006726"/>
              <a:ext cx="328613" cy="376238"/>
            </a:xfrm>
            <a:custGeom>
              <a:avLst/>
              <a:gdLst>
                <a:gd name="T0" fmla="*/ 0 w 264"/>
                <a:gd name="T1" fmla="*/ 0 h 301"/>
                <a:gd name="T2" fmla="*/ 52 w 264"/>
                <a:gd name="T3" fmla="*/ 0 h 301"/>
                <a:gd name="T4" fmla="*/ 52 w 264"/>
                <a:gd name="T5" fmla="*/ 172 h 301"/>
                <a:gd name="T6" fmla="*/ 126 w 264"/>
                <a:gd name="T7" fmla="*/ 252 h 301"/>
                <a:gd name="T8" fmla="*/ 212 w 264"/>
                <a:gd name="T9" fmla="*/ 160 h 301"/>
                <a:gd name="T10" fmla="*/ 212 w 264"/>
                <a:gd name="T11" fmla="*/ 0 h 301"/>
                <a:gd name="T12" fmla="*/ 264 w 264"/>
                <a:gd name="T13" fmla="*/ 0 h 301"/>
                <a:gd name="T14" fmla="*/ 264 w 264"/>
                <a:gd name="T15" fmla="*/ 295 h 301"/>
                <a:gd name="T16" fmla="*/ 212 w 264"/>
                <a:gd name="T17" fmla="*/ 295 h 301"/>
                <a:gd name="T18" fmla="*/ 212 w 264"/>
                <a:gd name="T19" fmla="*/ 252 h 301"/>
                <a:gd name="T20" fmla="*/ 119 w 264"/>
                <a:gd name="T21" fmla="*/ 301 h 301"/>
                <a:gd name="T22" fmla="*/ 0 w 264"/>
                <a:gd name="T23" fmla="*/ 172 h 301"/>
                <a:gd name="T24" fmla="*/ 0 w 264"/>
                <a:gd name="T2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4" h="301">
                  <a:moveTo>
                    <a:pt x="0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172"/>
                    <a:pt x="52" y="172"/>
                    <a:pt x="52" y="172"/>
                  </a:cubicBezTo>
                  <a:cubicBezTo>
                    <a:pt x="52" y="221"/>
                    <a:pt x="83" y="252"/>
                    <a:pt x="126" y="252"/>
                  </a:cubicBezTo>
                  <a:cubicBezTo>
                    <a:pt x="175" y="252"/>
                    <a:pt x="212" y="215"/>
                    <a:pt x="212" y="16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64" y="295"/>
                    <a:pt x="264" y="295"/>
                    <a:pt x="264" y="295"/>
                  </a:cubicBezTo>
                  <a:cubicBezTo>
                    <a:pt x="212" y="295"/>
                    <a:pt x="212" y="295"/>
                    <a:pt x="212" y="295"/>
                  </a:cubicBezTo>
                  <a:cubicBezTo>
                    <a:pt x="212" y="252"/>
                    <a:pt x="212" y="252"/>
                    <a:pt x="212" y="252"/>
                  </a:cubicBezTo>
                  <a:cubicBezTo>
                    <a:pt x="212" y="252"/>
                    <a:pt x="181" y="301"/>
                    <a:pt x="119" y="301"/>
                  </a:cubicBezTo>
                  <a:cubicBezTo>
                    <a:pt x="49" y="301"/>
                    <a:pt x="0" y="252"/>
                    <a:pt x="0" y="17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6"/>
            <p:cNvSpPr>
              <a:spLocks noEditPoints="1"/>
            </p:cNvSpPr>
            <p:nvPr userDrawn="1"/>
          </p:nvSpPr>
          <p:spPr bwMode="auto">
            <a:xfrm>
              <a:off x="7908926" y="3000376"/>
              <a:ext cx="366713" cy="534988"/>
            </a:xfrm>
            <a:custGeom>
              <a:avLst/>
              <a:gdLst>
                <a:gd name="T0" fmla="*/ 0 w 295"/>
                <a:gd name="T1" fmla="*/ 6 h 430"/>
                <a:gd name="T2" fmla="*/ 52 w 295"/>
                <a:gd name="T3" fmla="*/ 6 h 430"/>
                <a:gd name="T4" fmla="*/ 52 w 295"/>
                <a:gd name="T5" fmla="*/ 49 h 430"/>
                <a:gd name="T6" fmla="*/ 154 w 295"/>
                <a:gd name="T7" fmla="*/ 0 h 430"/>
                <a:gd name="T8" fmla="*/ 295 w 295"/>
                <a:gd name="T9" fmla="*/ 153 h 430"/>
                <a:gd name="T10" fmla="*/ 154 w 295"/>
                <a:gd name="T11" fmla="*/ 307 h 430"/>
                <a:gd name="T12" fmla="*/ 52 w 295"/>
                <a:gd name="T13" fmla="*/ 258 h 430"/>
                <a:gd name="T14" fmla="*/ 52 w 295"/>
                <a:gd name="T15" fmla="*/ 430 h 430"/>
                <a:gd name="T16" fmla="*/ 0 w 295"/>
                <a:gd name="T17" fmla="*/ 430 h 430"/>
                <a:gd name="T18" fmla="*/ 0 w 295"/>
                <a:gd name="T19" fmla="*/ 6 h 430"/>
                <a:gd name="T20" fmla="*/ 243 w 295"/>
                <a:gd name="T21" fmla="*/ 153 h 430"/>
                <a:gd name="T22" fmla="*/ 148 w 295"/>
                <a:gd name="T23" fmla="*/ 49 h 430"/>
                <a:gd name="T24" fmla="*/ 52 w 295"/>
                <a:gd name="T25" fmla="*/ 153 h 430"/>
                <a:gd name="T26" fmla="*/ 148 w 295"/>
                <a:gd name="T27" fmla="*/ 258 h 430"/>
                <a:gd name="T28" fmla="*/ 243 w 295"/>
                <a:gd name="T29" fmla="*/ 153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5" h="430">
                  <a:moveTo>
                    <a:pt x="0" y="6"/>
                  </a:moveTo>
                  <a:cubicBezTo>
                    <a:pt x="52" y="6"/>
                    <a:pt x="52" y="6"/>
                    <a:pt x="52" y="6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2" y="49"/>
                    <a:pt x="83" y="0"/>
                    <a:pt x="154" y="0"/>
                  </a:cubicBezTo>
                  <a:cubicBezTo>
                    <a:pt x="231" y="0"/>
                    <a:pt x="295" y="64"/>
                    <a:pt x="295" y="153"/>
                  </a:cubicBezTo>
                  <a:cubicBezTo>
                    <a:pt x="295" y="243"/>
                    <a:pt x="231" y="307"/>
                    <a:pt x="154" y="307"/>
                  </a:cubicBezTo>
                  <a:cubicBezTo>
                    <a:pt x="83" y="307"/>
                    <a:pt x="52" y="258"/>
                    <a:pt x="52" y="258"/>
                  </a:cubicBezTo>
                  <a:cubicBezTo>
                    <a:pt x="52" y="430"/>
                    <a:pt x="52" y="430"/>
                    <a:pt x="52" y="430"/>
                  </a:cubicBezTo>
                  <a:cubicBezTo>
                    <a:pt x="0" y="430"/>
                    <a:pt x="0" y="430"/>
                    <a:pt x="0" y="430"/>
                  </a:cubicBezTo>
                  <a:lnTo>
                    <a:pt x="0" y="6"/>
                  </a:lnTo>
                  <a:close/>
                  <a:moveTo>
                    <a:pt x="243" y="153"/>
                  </a:moveTo>
                  <a:cubicBezTo>
                    <a:pt x="243" y="92"/>
                    <a:pt x="200" y="49"/>
                    <a:pt x="148" y="49"/>
                  </a:cubicBezTo>
                  <a:cubicBezTo>
                    <a:pt x="95" y="49"/>
                    <a:pt x="52" y="92"/>
                    <a:pt x="52" y="153"/>
                  </a:cubicBezTo>
                  <a:cubicBezTo>
                    <a:pt x="52" y="215"/>
                    <a:pt x="95" y="258"/>
                    <a:pt x="148" y="258"/>
                  </a:cubicBezTo>
                  <a:cubicBezTo>
                    <a:pt x="200" y="258"/>
                    <a:pt x="243" y="215"/>
                    <a:pt x="243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8355013" y="3000376"/>
              <a:ext cx="366713" cy="534988"/>
            </a:xfrm>
            <a:custGeom>
              <a:avLst/>
              <a:gdLst>
                <a:gd name="T0" fmla="*/ 0 w 295"/>
                <a:gd name="T1" fmla="*/ 6 h 430"/>
                <a:gd name="T2" fmla="*/ 52 w 295"/>
                <a:gd name="T3" fmla="*/ 6 h 430"/>
                <a:gd name="T4" fmla="*/ 52 w 295"/>
                <a:gd name="T5" fmla="*/ 49 h 430"/>
                <a:gd name="T6" fmla="*/ 153 w 295"/>
                <a:gd name="T7" fmla="*/ 0 h 430"/>
                <a:gd name="T8" fmla="*/ 295 w 295"/>
                <a:gd name="T9" fmla="*/ 153 h 430"/>
                <a:gd name="T10" fmla="*/ 153 w 295"/>
                <a:gd name="T11" fmla="*/ 307 h 430"/>
                <a:gd name="T12" fmla="*/ 52 w 295"/>
                <a:gd name="T13" fmla="*/ 258 h 430"/>
                <a:gd name="T14" fmla="*/ 52 w 295"/>
                <a:gd name="T15" fmla="*/ 430 h 430"/>
                <a:gd name="T16" fmla="*/ 0 w 295"/>
                <a:gd name="T17" fmla="*/ 430 h 430"/>
                <a:gd name="T18" fmla="*/ 0 w 295"/>
                <a:gd name="T19" fmla="*/ 6 h 430"/>
                <a:gd name="T20" fmla="*/ 243 w 295"/>
                <a:gd name="T21" fmla="*/ 153 h 430"/>
                <a:gd name="T22" fmla="*/ 147 w 295"/>
                <a:gd name="T23" fmla="*/ 49 h 430"/>
                <a:gd name="T24" fmla="*/ 52 w 295"/>
                <a:gd name="T25" fmla="*/ 153 h 430"/>
                <a:gd name="T26" fmla="*/ 147 w 295"/>
                <a:gd name="T27" fmla="*/ 258 h 430"/>
                <a:gd name="T28" fmla="*/ 243 w 295"/>
                <a:gd name="T29" fmla="*/ 153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5" h="430">
                  <a:moveTo>
                    <a:pt x="0" y="6"/>
                  </a:moveTo>
                  <a:cubicBezTo>
                    <a:pt x="52" y="6"/>
                    <a:pt x="52" y="6"/>
                    <a:pt x="52" y="6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2" y="49"/>
                    <a:pt x="83" y="0"/>
                    <a:pt x="153" y="0"/>
                  </a:cubicBezTo>
                  <a:cubicBezTo>
                    <a:pt x="230" y="0"/>
                    <a:pt x="295" y="64"/>
                    <a:pt x="295" y="153"/>
                  </a:cubicBezTo>
                  <a:cubicBezTo>
                    <a:pt x="295" y="243"/>
                    <a:pt x="230" y="307"/>
                    <a:pt x="153" y="307"/>
                  </a:cubicBezTo>
                  <a:cubicBezTo>
                    <a:pt x="83" y="307"/>
                    <a:pt x="52" y="258"/>
                    <a:pt x="52" y="258"/>
                  </a:cubicBezTo>
                  <a:cubicBezTo>
                    <a:pt x="52" y="430"/>
                    <a:pt x="52" y="430"/>
                    <a:pt x="52" y="430"/>
                  </a:cubicBezTo>
                  <a:cubicBezTo>
                    <a:pt x="0" y="430"/>
                    <a:pt x="0" y="430"/>
                    <a:pt x="0" y="430"/>
                  </a:cubicBezTo>
                  <a:lnTo>
                    <a:pt x="0" y="6"/>
                  </a:lnTo>
                  <a:close/>
                  <a:moveTo>
                    <a:pt x="243" y="153"/>
                  </a:moveTo>
                  <a:cubicBezTo>
                    <a:pt x="243" y="92"/>
                    <a:pt x="199" y="49"/>
                    <a:pt x="147" y="49"/>
                  </a:cubicBezTo>
                  <a:cubicBezTo>
                    <a:pt x="95" y="49"/>
                    <a:pt x="52" y="92"/>
                    <a:pt x="52" y="153"/>
                  </a:cubicBezTo>
                  <a:cubicBezTo>
                    <a:pt x="52" y="215"/>
                    <a:pt x="95" y="258"/>
                    <a:pt x="147" y="258"/>
                  </a:cubicBezTo>
                  <a:cubicBezTo>
                    <a:pt x="199" y="258"/>
                    <a:pt x="243" y="215"/>
                    <a:pt x="243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8778876" y="3000376"/>
              <a:ext cx="361950" cy="382588"/>
            </a:xfrm>
            <a:custGeom>
              <a:avLst/>
              <a:gdLst>
                <a:gd name="T0" fmla="*/ 277 w 292"/>
                <a:gd name="T1" fmla="*/ 249 h 307"/>
                <a:gd name="T2" fmla="*/ 154 w 292"/>
                <a:gd name="T3" fmla="*/ 307 h 307"/>
                <a:gd name="T4" fmla="*/ 0 w 292"/>
                <a:gd name="T5" fmla="*/ 153 h 307"/>
                <a:gd name="T6" fmla="*/ 148 w 292"/>
                <a:gd name="T7" fmla="*/ 0 h 307"/>
                <a:gd name="T8" fmla="*/ 292 w 292"/>
                <a:gd name="T9" fmla="*/ 144 h 307"/>
                <a:gd name="T10" fmla="*/ 289 w 292"/>
                <a:gd name="T11" fmla="*/ 172 h 307"/>
                <a:gd name="T12" fmla="*/ 56 w 292"/>
                <a:gd name="T13" fmla="*/ 172 h 307"/>
                <a:gd name="T14" fmla="*/ 154 w 292"/>
                <a:gd name="T15" fmla="*/ 258 h 307"/>
                <a:gd name="T16" fmla="*/ 243 w 292"/>
                <a:gd name="T17" fmla="*/ 215 h 307"/>
                <a:gd name="T18" fmla="*/ 277 w 292"/>
                <a:gd name="T19" fmla="*/ 249 h 307"/>
                <a:gd name="T20" fmla="*/ 240 w 292"/>
                <a:gd name="T21" fmla="*/ 126 h 307"/>
                <a:gd name="T22" fmla="*/ 148 w 292"/>
                <a:gd name="T23" fmla="*/ 49 h 307"/>
                <a:gd name="T24" fmla="*/ 56 w 292"/>
                <a:gd name="T25" fmla="*/ 126 h 307"/>
                <a:gd name="T26" fmla="*/ 240 w 292"/>
                <a:gd name="T27" fmla="*/ 12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307">
                  <a:moveTo>
                    <a:pt x="277" y="249"/>
                  </a:moveTo>
                  <a:cubicBezTo>
                    <a:pt x="277" y="249"/>
                    <a:pt x="237" y="307"/>
                    <a:pt x="154" y="307"/>
                  </a:cubicBezTo>
                  <a:cubicBezTo>
                    <a:pt x="68" y="307"/>
                    <a:pt x="0" y="239"/>
                    <a:pt x="0" y="153"/>
                  </a:cubicBezTo>
                  <a:cubicBezTo>
                    <a:pt x="0" y="67"/>
                    <a:pt x="68" y="0"/>
                    <a:pt x="148" y="0"/>
                  </a:cubicBezTo>
                  <a:cubicBezTo>
                    <a:pt x="231" y="0"/>
                    <a:pt x="292" y="61"/>
                    <a:pt x="292" y="144"/>
                  </a:cubicBezTo>
                  <a:cubicBezTo>
                    <a:pt x="292" y="160"/>
                    <a:pt x="289" y="172"/>
                    <a:pt x="289" y="172"/>
                  </a:cubicBezTo>
                  <a:cubicBezTo>
                    <a:pt x="56" y="172"/>
                    <a:pt x="56" y="172"/>
                    <a:pt x="56" y="172"/>
                  </a:cubicBezTo>
                  <a:cubicBezTo>
                    <a:pt x="62" y="218"/>
                    <a:pt x="102" y="258"/>
                    <a:pt x="154" y="258"/>
                  </a:cubicBezTo>
                  <a:cubicBezTo>
                    <a:pt x="212" y="258"/>
                    <a:pt x="243" y="215"/>
                    <a:pt x="243" y="215"/>
                  </a:cubicBezTo>
                  <a:lnTo>
                    <a:pt x="277" y="249"/>
                  </a:lnTo>
                  <a:close/>
                  <a:moveTo>
                    <a:pt x="240" y="126"/>
                  </a:moveTo>
                  <a:cubicBezTo>
                    <a:pt x="231" y="83"/>
                    <a:pt x="197" y="49"/>
                    <a:pt x="148" y="49"/>
                  </a:cubicBezTo>
                  <a:cubicBezTo>
                    <a:pt x="99" y="49"/>
                    <a:pt x="65" y="83"/>
                    <a:pt x="56" y="126"/>
                  </a:cubicBezTo>
                  <a:lnTo>
                    <a:pt x="24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auto">
            <a:xfrm>
              <a:off x="3916363" y="3768726"/>
              <a:ext cx="201613" cy="239713"/>
            </a:xfrm>
            <a:custGeom>
              <a:avLst/>
              <a:gdLst>
                <a:gd name="T0" fmla="*/ 0 w 162"/>
                <a:gd name="T1" fmla="*/ 0 h 192"/>
                <a:gd name="T2" fmla="*/ 62 w 162"/>
                <a:gd name="T3" fmla="*/ 0 h 192"/>
                <a:gd name="T4" fmla="*/ 162 w 162"/>
                <a:gd name="T5" fmla="*/ 96 h 192"/>
                <a:gd name="T6" fmla="*/ 62 w 162"/>
                <a:gd name="T7" fmla="*/ 192 h 192"/>
                <a:gd name="T8" fmla="*/ 0 w 162"/>
                <a:gd name="T9" fmla="*/ 192 h 192"/>
                <a:gd name="T10" fmla="*/ 0 w 162"/>
                <a:gd name="T11" fmla="*/ 0 h 192"/>
                <a:gd name="T12" fmla="*/ 62 w 162"/>
                <a:gd name="T13" fmla="*/ 169 h 192"/>
                <a:gd name="T14" fmla="*/ 137 w 162"/>
                <a:gd name="T15" fmla="*/ 96 h 192"/>
                <a:gd name="T16" fmla="*/ 62 w 162"/>
                <a:gd name="T17" fmla="*/ 23 h 192"/>
                <a:gd name="T18" fmla="*/ 25 w 162"/>
                <a:gd name="T19" fmla="*/ 23 h 192"/>
                <a:gd name="T20" fmla="*/ 25 w 162"/>
                <a:gd name="T21" fmla="*/ 169 h 192"/>
                <a:gd name="T22" fmla="*/ 62 w 162"/>
                <a:gd name="T23" fmla="*/ 16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2" h="192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118" y="0"/>
                    <a:pt x="162" y="44"/>
                    <a:pt x="162" y="96"/>
                  </a:cubicBezTo>
                  <a:cubicBezTo>
                    <a:pt x="162" y="148"/>
                    <a:pt x="118" y="192"/>
                    <a:pt x="62" y="192"/>
                  </a:cubicBezTo>
                  <a:cubicBezTo>
                    <a:pt x="0" y="192"/>
                    <a:pt x="0" y="192"/>
                    <a:pt x="0" y="192"/>
                  </a:cubicBezTo>
                  <a:lnTo>
                    <a:pt x="0" y="0"/>
                  </a:lnTo>
                  <a:close/>
                  <a:moveTo>
                    <a:pt x="62" y="169"/>
                  </a:moveTo>
                  <a:cubicBezTo>
                    <a:pt x="104" y="169"/>
                    <a:pt x="137" y="136"/>
                    <a:pt x="137" y="96"/>
                  </a:cubicBezTo>
                  <a:cubicBezTo>
                    <a:pt x="137" y="56"/>
                    <a:pt x="104" y="23"/>
                    <a:pt x="62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169"/>
                    <a:pt x="25" y="169"/>
                    <a:pt x="25" y="169"/>
                  </a:cubicBezTo>
                  <a:lnTo>
                    <a:pt x="62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4151313" y="3841751"/>
              <a:ext cx="138113" cy="169863"/>
            </a:xfrm>
            <a:custGeom>
              <a:avLst/>
              <a:gdLst>
                <a:gd name="T0" fmla="*/ 88 w 111"/>
                <a:gd name="T1" fmla="*/ 116 h 137"/>
                <a:gd name="T2" fmla="*/ 46 w 111"/>
                <a:gd name="T3" fmla="*/ 137 h 137"/>
                <a:gd name="T4" fmla="*/ 0 w 111"/>
                <a:gd name="T5" fmla="*/ 99 h 137"/>
                <a:gd name="T6" fmla="*/ 39 w 111"/>
                <a:gd name="T7" fmla="*/ 59 h 137"/>
                <a:gd name="T8" fmla="*/ 88 w 111"/>
                <a:gd name="T9" fmla="*/ 51 h 137"/>
                <a:gd name="T10" fmla="*/ 58 w 111"/>
                <a:gd name="T11" fmla="*/ 22 h 137"/>
                <a:gd name="T12" fmla="*/ 22 w 111"/>
                <a:gd name="T13" fmla="*/ 40 h 137"/>
                <a:gd name="T14" fmla="*/ 7 w 111"/>
                <a:gd name="T15" fmla="*/ 24 h 137"/>
                <a:gd name="T16" fmla="*/ 58 w 111"/>
                <a:gd name="T17" fmla="*/ 0 h 137"/>
                <a:gd name="T18" fmla="*/ 111 w 111"/>
                <a:gd name="T19" fmla="*/ 51 h 137"/>
                <a:gd name="T20" fmla="*/ 111 w 111"/>
                <a:gd name="T21" fmla="*/ 134 h 137"/>
                <a:gd name="T22" fmla="*/ 88 w 111"/>
                <a:gd name="T23" fmla="*/ 134 h 137"/>
                <a:gd name="T24" fmla="*/ 88 w 111"/>
                <a:gd name="T25" fmla="*/ 116 h 137"/>
                <a:gd name="T26" fmla="*/ 88 w 111"/>
                <a:gd name="T27" fmla="*/ 70 h 137"/>
                <a:gd name="T28" fmla="*/ 46 w 111"/>
                <a:gd name="T29" fmla="*/ 77 h 137"/>
                <a:gd name="T30" fmla="*/ 24 w 111"/>
                <a:gd name="T31" fmla="*/ 97 h 137"/>
                <a:gd name="T32" fmla="*/ 48 w 111"/>
                <a:gd name="T33" fmla="*/ 116 h 137"/>
                <a:gd name="T34" fmla="*/ 88 w 111"/>
                <a:gd name="T35" fmla="*/ 75 h 137"/>
                <a:gd name="T36" fmla="*/ 88 w 111"/>
                <a:gd name="T37" fmla="*/ 7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" h="137">
                  <a:moveTo>
                    <a:pt x="88" y="116"/>
                  </a:moveTo>
                  <a:cubicBezTo>
                    <a:pt x="88" y="116"/>
                    <a:pt x="74" y="137"/>
                    <a:pt x="46" y="137"/>
                  </a:cubicBezTo>
                  <a:cubicBezTo>
                    <a:pt x="18" y="137"/>
                    <a:pt x="0" y="119"/>
                    <a:pt x="0" y="99"/>
                  </a:cubicBezTo>
                  <a:cubicBezTo>
                    <a:pt x="0" y="77"/>
                    <a:pt x="14" y="63"/>
                    <a:pt x="39" y="59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34"/>
                    <a:pt x="76" y="22"/>
                    <a:pt x="58" y="22"/>
                  </a:cubicBezTo>
                  <a:cubicBezTo>
                    <a:pt x="36" y="22"/>
                    <a:pt x="22" y="40"/>
                    <a:pt x="22" y="4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25" y="0"/>
                    <a:pt x="58" y="0"/>
                  </a:cubicBezTo>
                  <a:cubicBezTo>
                    <a:pt x="90" y="0"/>
                    <a:pt x="111" y="22"/>
                    <a:pt x="111" y="51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88" y="134"/>
                    <a:pt x="88" y="134"/>
                    <a:pt x="88" y="134"/>
                  </a:cubicBezTo>
                  <a:lnTo>
                    <a:pt x="88" y="116"/>
                  </a:lnTo>
                  <a:close/>
                  <a:moveTo>
                    <a:pt x="88" y="70"/>
                  </a:moveTo>
                  <a:cubicBezTo>
                    <a:pt x="46" y="77"/>
                    <a:pt x="46" y="77"/>
                    <a:pt x="46" y="77"/>
                  </a:cubicBezTo>
                  <a:cubicBezTo>
                    <a:pt x="32" y="79"/>
                    <a:pt x="24" y="88"/>
                    <a:pt x="24" y="97"/>
                  </a:cubicBezTo>
                  <a:cubicBezTo>
                    <a:pt x="24" y="108"/>
                    <a:pt x="32" y="116"/>
                    <a:pt x="48" y="116"/>
                  </a:cubicBezTo>
                  <a:cubicBezTo>
                    <a:pt x="70" y="116"/>
                    <a:pt x="88" y="99"/>
                    <a:pt x="88" y="75"/>
                  </a:cubicBezTo>
                  <a:lnTo>
                    <a:pt x="88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4329113" y="3841751"/>
              <a:ext cx="123825" cy="169863"/>
            </a:xfrm>
            <a:custGeom>
              <a:avLst/>
              <a:gdLst>
                <a:gd name="T0" fmla="*/ 15 w 99"/>
                <a:gd name="T1" fmla="*/ 97 h 137"/>
                <a:gd name="T2" fmla="*/ 49 w 99"/>
                <a:gd name="T3" fmla="*/ 115 h 137"/>
                <a:gd name="T4" fmla="*/ 75 w 99"/>
                <a:gd name="T5" fmla="*/ 97 h 137"/>
                <a:gd name="T6" fmla="*/ 5 w 99"/>
                <a:gd name="T7" fmla="*/ 37 h 137"/>
                <a:gd name="T8" fmla="*/ 50 w 99"/>
                <a:gd name="T9" fmla="*/ 0 h 137"/>
                <a:gd name="T10" fmla="*/ 96 w 99"/>
                <a:gd name="T11" fmla="*/ 18 h 137"/>
                <a:gd name="T12" fmla="*/ 79 w 99"/>
                <a:gd name="T13" fmla="*/ 34 h 137"/>
                <a:gd name="T14" fmla="*/ 50 w 99"/>
                <a:gd name="T15" fmla="*/ 22 h 137"/>
                <a:gd name="T16" fmla="*/ 29 w 99"/>
                <a:gd name="T17" fmla="*/ 37 h 137"/>
                <a:gd name="T18" fmla="*/ 99 w 99"/>
                <a:gd name="T19" fmla="*/ 97 h 137"/>
                <a:gd name="T20" fmla="*/ 49 w 99"/>
                <a:gd name="T21" fmla="*/ 137 h 137"/>
                <a:gd name="T22" fmla="*/ 0 w 99"/>
                <a:gd name="T23" fmla="*/ 114 h 137"/>
                <a:gd name="T24" fmla="*/ 15 w 99"/>
                <a:gd name="T25" fmla="*/ 9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137">
                  <a:moveTo>
                    <a:pt x="15" y="97"/>
                  </a:moveTo>
                  <a:cubicBezTo>
                    <a:pt x="15" y="97"/>
                    <a:pt x="27" y="115"/>
                    <a:pt x="49" y="115"/>
                  </a:cubicBezTo>
                  <a:cubicBezTo>
                    <a:pt x="67" y="115"/>
                    <a:pt x="75" y="107"/>
                    <a:pt x="75" y="97"/>
                  </a:cubicBezTo>
                  <a:cubicBezTo>
                    <a:pt x="75" y="71"/>
                    <a:pt x="5" y="82"/>
                    <a:pt x="5" y="37"/>
                  </a:cubicBezTo>
                  <a:cubicBezTo>
                    <a:pt x="5" y="18"/>
                    <a:pt x="23" y="0"/>
                    <a:pt x="50" y="0"/>
                  </a:cubicBezTo>
                  <a:cubicBezTo>
                    <a:pt x="81" y="0"/>
                    <a:pt x="96" y="18"/>
                    <a:pt x="96" y="18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4"/>
                    <a:pt x="70" y="22"/>
                    <a:pt x="50" y="22"/>
                  </a:cubicBezTo>
                  <a:cubicBezTo>
                    <a:pt x="35" y="22"/>
                    <a:pt x="29" y="29"/>
                    <a:pt x="29" y="37"/>
                  </a:cubicBezTo>
                  <a:cubicBezTo>
                    <a:pt x="29" y="61"/>
                    <a:pt x="99" y="51"/>
                    <a:pt x="99" y="97"/>
                  </a:cubicBezTo>
                  <a:cubicBezTo>
                    <a:pt x="99" y="119"/>
                    <a:pt x="81" y="137"/>
                    <a:pt x="49" y="137"/>
                  </a:cubicBezTo>
                  <a:cubicBezTo>
                    <a:pt x="16" y="137"/>
                    <a:pt x="0" y="114"/>
                    <a:pt x="0" y="114"/>
                  </a:cubicBezTo>
                  <a:lnTo>
                    <a:pt x="15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4575176" y="3768726"/>
              <a:ext cx="177800" cy="239713"/>
            </a:xfrm>
            <a:custGeom>
              <a:avLst/>
              <a:gdLst>
                <a:gd name="T0" fmla="*/ 0 w 112"/>
                <a:gd name="T1" fmla="*/ 133 h 151"/>
                <a:gd name="T2" fmla="*/ 86 w 112"/>
                <a:gd name="T3" fmla="*/ 18 h 151"/>
                <a:gd name="T4" fmla="*/ 3 w 112"/>
                <a:gd name="T5" fmla="*/ 18 h 151"/>
                <a:gd name="T6" fmla="*/ 3 w 112"/>
                <a:gd name="T7" fmla="*/ 0 h 151"/>
                <a:gd name="T8" fmla="*/ 109 w 112"/>
                <a:gd name="T9" fmla="*/ 0 h 151"/>
                <a:gd name="T10" fmla="*/ 109 w 112"/>
                <a:gd name="T11" fmla="*/ 18 h 151"/>
                <a:gd name="T12" fmla="*/ 23 w 112"/>
                <a:gd name="T13" fmla="*/ 133 h 151"/>
                <a:gd name="T14" fmla="*/ 112 w 112"/>
                <a:gd name="T15" fmla="*/ 133 h 151"/>
                <a:gd name="T16" fmla="*/ 112 w 112"/>
                <a:gd name="T17" fmla="*/ 151 h 151"/>
                <a:gd name="T18" fmla="*/ 0 w 112"/>
                <a:gd name="T19" fmla="*/ 151 h 151"/>
                <a:gd name="T20" fmla="*/ 0 w 112"/>
                <a:gd name="T21" fmla="*/ 13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2" h="151">
                  <a:moveTo>
                    <a:pt x="0" y="133"/>
                  </a:moveTo>
                  <a:lnTo>
                    <a:pt x="86" y="18"/>
                  </a:lnTo>
                  <a:lnTo>
                    <a:pt x="3" y="18"/>
                  </a:lnTo>
                  <a:lnTo>
                    <a:pt x="3" y="0"/>
                  </a:lnTo>
                  <a:lnTo>
                    <a:pt x="109" y="0"/>
                  </a:lnTo>
                  <a:lnTo>
                    <a:pt x="109" y="18"/>
                  </a:lnTo>
                  <a:lnTo>
                    <a:pt x="23" y="133"/>
                  </a:lnTo>
                  <a:lnTo>
                    <a:pt x="112" y="133"/>
                  </a:lnTo>
                  <a:lnTo>
                    <a:pt x="112" y="151"/>
                  </a:lnTo>
                  <a:lnTo>
                    <a:pt x="0" y="151"/>
                  </a:lnTo>
                  <a:lnTo>
                    <a:pt x="0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4789488" y="3844926"/>
              <a:ext cx="147638" cy="166688"/>
            </a:xfrm>
            <a:custGeom>
              <a:avLst/>
              <a:gdLst>
                <a:gd name="T0" fmla="*/ 0 w 118"/>
                <a:gd name="T1" fmla="*/ 0 h 134"/>
                <a:gd name="T2" fmla="*/ 23 w 118"/>
                <a:gd name="T3" fmla="*/ 0 h 134"/>
                <a:gd name="T4" fmla="*/ 23 w 118"/>
                <a:gd name="T5" fmla="*/ 76 h 134"/>
                <a:gd name="T6" fmla="*/ 56 w 118"/>
                <a:gd name="T7" fmla="*/ 112 h 134"/>
                <a:gd name="T8" fmla="*/ 94 w 118"/>
                <a:gd name="T9" fmla="*/ 71 h 134"/>
                <a:gd name="T10" fmla="*/ 94 w 118"/>
                <a:gd name="T11" fmla="*/ 0 h 134"/>
                <a:gd name="T12" fmla="*/ 118 w 118"/>
                <a:gd name="T13" fmla="*/ 0 h 134"/>
                <a:gd name="T14" fmla="*/ 118 w 118"/>
                <a:gd name="T15" fmla="*/ 131 h 134"/>
                <a:gd name="T16" fmla="*/ 94 w 118"/>
                <a:gd name="T17" fmla="*/ 131 h 134"/>
                <a:gd name="T18" fmla="*/ 94 w 118"/>
                <a:gd name="T19" fmla="*/ 112 h 134"/>
                <a:gd name="T20" fmla="*/ 53 w 118"/>
                <a:gd name="T21" fmla="*/ 134 h 134"/>
                <a:gd name="T22" fmla="*/ 0 w 118"/>
                <a:gd name="T23" fmla="*/ 76 h 134"/>
                <a:gd name="T24" fmla="*/ 0 w 118"/>
                <a:gd name="T2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134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98"/>
                    <a:pt x="37" y="112"/>
                    <a:pt x="56" y="112"/>
                  </a:cubicBezTo>
                  <a:cubicBezTo>
                    <a:pt x="78" y="112"/>
                    <a:pt x="94" y="96"/>
                    <a:pt x="94" y="71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31"/>
                    <a:pt x="118" y="131"/>
                    <a:pt x="118" y="131"/>
                  </a:cubicBezTo>
                  <a:cubicBezTo>
                    <a:pt x="94" y="131"/>
                    <a:pt x="94" y="131"/>
                    <a:pt x="94" y="131"/>
                  </a:cubicBezTo>
                  <a:cubicBezTo>
                    <a:pt x="94" y="112"/>
                    <a:pt x="94" y="112"/>
                    <a:pt x="94" y="112"/>
                  </a:cubicBezTo>
                  <a:cubicBezTo>
                    <a:pt x="94" y="112"/>
                    <a:pt x="81" y="134"/>
                    <a:pt x="53" y="134"/>
                  </a:cubicBezTo>
                  <a:cubicBezTo>
                    <a:pt x="22" y="134"/>
                    <a:pt x="0" y="112"/>
                    <a:pt x="0" y="76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4992688" y="3768726"/>
              <a:ext cx="144463" cy="239713"/>
            </a:xfrm>
            <a:custGeom>
              <a:avLst/>
              <a:gdLst>
                <a:gd name="T0" fmla="*/ 0 w 117"/>
                <a:gd name="T1" fmla="*/ 0 h 192"/>
                <a:gd name="T2" fmla="*/ 23 w 117"/>
                <a:gd name="T3" fmla="*/ 0 h 192"/>
                <a:gd name="T4" fmla="*/ 23 w 117"/>
                <a:gd name="T5" fmla="*/ 80 h 192"/>
                <a:gd name="T6" fmla="*/ 64 w 117"/>
                <a:gd name="T7" fmla="*/ 58 h 192"/>
                <a:gd name="T8" fmla="*/ 117 w 117"/>
                <a:gd name="T9" fmla="*/ 115 h 192"/>
                <a:gd name="T10" fmla="*/ 117 w 117"/>
                <a:gd name="T11" fmla="*/ 192 h 192"/>
                <a:gd name="T12" fmla="*/ 94 w 117"/>
                <a:gd name="T13" fmla="*/ 192 h 192"/>
                <a:gd name="T14" fmla="*/ 94 w 117"/>
                <a:gd name="T15" fmla="*/ 115 h 192"/>
                <a:gd name="T16" fmla="*/ 61 w 117"/>
                <a:gd name="T17" fmla="*/ 80 h 192"/>
                <a:gd name="T18" fmla="*/ 23 w 117"/>
                <a:gd name="T19" fmla="*/ 119 h 192"/>
                <a:gd name="T20" fmla="*/ 23 w 117"/>
                <a:gd name="T21" fmla="*/ 192 h 192"/>
                <a:gd name="T22" fmla="*/ 0 w 117"/>
                <a:gd name="T23" fmla="*/ 192 h 192"/>
                <a:gd name="T24" fmla="*/ 0 w 117"/>
                <a:gd name="T2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192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3" y="80"/>
                    <a:pt x="37" y="58"/>
                    <a:pt x="64" y="58"/>
                  </a:cubicBezTo>
                  <a:cubicBezTo>
                    <a:pt x="96" y="58"/>
                    <a:pt x="117" y="80"/>
                    <a:pt x="117" y="115"/>
                  </a:cubicBezTo>
                  <a:cubicBezTo>
                    <a:pt x="117" y="192"/>
                    <a:pt x="117" y="192"/>
                    <a:pt x="117" y="192"/>
                  </a:cubicBezTo>
                  <a:cubicBezTo>
                    <a:pt x="94" y="192"/>
                    <a:pt x="94" y="192"/>
                    <a:pt x="94" y="192"/>
                  </a:cubicBezTo>
                  <a:cubicBezTo>
                    <a:pt x="94" y="115"/>
                    <a:pt x="94" y="115"/>
                    <a:pt x="94" y="115"/>
                  </a:cubicBezTo>
                  <a:cubicBezTo>
                    <a:pt x="94" y="93"/>
                    <a:pt x="80" y="80"/>
                    <a:pt x="61" y="80"/>
                  </a:cubicBezTo>
                  <a:cubicBezTo>
                    <a:pt x="39" y="80"/>
                    <a:pt x="23" y="96"/>
                    <a:pt x="23" y="119"/>
                  </a:cubicBezTo>
                  <a:cubicBezTo>
                    <a:pt x="23" y="192"/>
                    <a:pt x="23" y="192"/>
                    <a:pt x="23" y="192"/>
                  </a:cubicBezTo>
                  <a:cubicBezTo>
                    <a:pt x="0" y="192"/>
                    <a:pt x="0" y="192"/>
                    <a:pt x="0" y="19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5"/>
            <p:cNvSpPr>
              <a:spLocks noEditPoints="1"/>
            </p:cNvSpPr>
            <p:nvPr userDrawn="1"/>
          </p:nvSpPr>
          <p:spPr bwMode="auto">
            <a:xfrm>
              <a:off x="5180013" y="3841751"/>
              <a:ext cx="138113" cy="169863"/>
            </a:xfrm>
            <a:custGeom>
              <a:avLst/>
              <a:gdLst>
                <a:gd name="T0" fmla="*/ 88 w 111"/>
                <a:gd name="T1" fmla="*/ 116 h 137"/>
                <a:gd name="T2" fmla="*/ 45 w 111"/>
                <a:gd name="T3" fmla="*/ 137 h 137"/>
                <a:gd name="T4" fmla="*/ 0 w 111"/>
                <a:gd name="T5" fmla="*/ 99 h 137"/>
                <a:gd name="T6" fmla="*/ 39 w 111"/>
                <a:gd name="T7" fmla="*/ 59 h 137"/>
                <a:gd name="T8" fmla="*/ 88 w 111"/>
                <a:gd name="T9" fmla="*/ 51 h 137"/>
                <a:gd name="T10" fmla="*/ 58 w 111"/>
                <a:gd name="T11" fmla="*/ 22 h 137"/>
                <a:gd name="T12" fmla="*/ 22 w 111"/>
                <a:gd name="T13" fmla="*/ 40 h 137"/>
                <a:gd name="T14" fmla="*/ 7 w 111"/>
                <a:gd name="T15" fmla="*/ 24 h 137"/>
                <a:gd name="T16" fmla="*/ 58 w 111"/>
                <a:gd name="T17" fmla="*/ 0 h 137"/>
                <a:gd name="T18" fmla="*/ 111 w 111"/>
                <a:gd name="T19" fmla="*/ 51 h 137"/>
                <a:gd name="T20" fmla="*/ 111 w 111"/>
                <a:gd name="T21" fmla="*/ 134 h 137"/>
                <a:gd name="T22" fmla="*/ 88 w 111"/>
                <a:gd name="T23" fmla="*/ 134 h 137"/>
                <a:gd name="T24" fmla="*/ 88 w 111"/>
                <a:gd name="T25" fmla="*/ 116 h 137"/>
                <a:gd name="T26" fmla="*/ 88 w 111"/>
                <a:gd name="T27" fmla="*/ 70 h 137"/>
                <a:gd name="T28" fmla="*/ 45 w 111"/>
                <a:gd name="T29" fmla="*/ 77 h 137"/>
                <a:gd name="T30" fmla="*/ 24 w 111"/>
                <a:gd name="T31" fmla="*/ 97 h 137"/>
                <a:gd name="T32" fmla="*/ 48 w 111"/>
                <a:gd name="T33" fmla="*/ 116 h 137"/>
                <a:gd name="T34" fmla="*/ 88 w 111"/>
                <a:gd name="T35" fmla="*/ 75 h 137"/>
                <a:gd name="T36" fmla="*/ 88 w 111"/>
                <a:gd name="T37" fmla="*/ 7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" h="137">
                  <a:moveTo>
                    <a:pt x="88" y="116"/>
                  </a:moveTo>
                  <a:cubicBezTo>
                    <a:pt x="88" y="116"/>
                    <a:pt x="74" y="137"/>
                    <a:pt x="45" y="137"/>
                  </a:cubicBezTo>
                  <a:cubicBezTo>
                    <a:pt x="18" y="137"/>
                    <a:pt x="0" y="119"/>
                    <a:pt x="0" y="99"/>
                  </a:cubicBezTo>
                  <a:cubicBezTo>
                    <a:pt x="0" y="77"/>
                    <a:pt x="14" y="63"/>
                    <a:pt x="39" y="59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34"/>
                    <a:pt x="76" y="22"/>
                    <a:pt x="58" y="22"/>
                  </a:cubicBezTo>
                  <a:cubicBezTo>
                    <a:pt x="36" y="22"/>
                    <a:pt x="22" y="40"/>
                    <a:pt x="22" y="4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25" y="0"/>
                    <a:pt x="58" y="0"/>
                  </a:cubicBezTo>
                  <a:cubicBezTo>
                    <a:pt x="89" y="0"/>
                    <a:pt x="111" y="22"/>
                    <a:pt x="111" y="51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88" y="134"/>
                    <a:pt x="88" y="134"/>
                    <a:pt x="88" y="134"/>
                  </a:cubicBezTo>
                  <a:lnTo>
                    <a:pt x="88" y="116"/>
                  </a:lnTo>
                  <a:close/>
                  <a:moveTo>
                    <a:pt x="88" y="70"/>
                  </a:moveTo>
                  <a:cubicBezTo>
                    <a:pt x="45" y="77"/>
                    <a:pt x="45" y="77"/>
                    <a:pt x="45" y="77"/>
                  </a:cubicBezTo>
                  <a:cubicBezTo>
                    <a:pt x="32" y="79"/>
                    <a:pt x="24" y="88"/>
                    <a:pt x="24" y="97"/>
                  </a:cubicBezTo>
                  <a:cubicBezTo>
                    <a:pt x="24" y="108"/>
                    <a:pt x="32" y="116"/>
                    <a:pt x="48" y="116"/>
                  </a:cubicBezTo>
                  <a:cubicBezTo>
                    <a:pt x="70" y="116"/>
                    <a:pt x="88" y="99"/>
                    <a:pt x="88" y="75"/>
                  </a:cubicBezTo>
                  <a:lnTo>
                    <a:pt x="88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5372101" y="3844926"/>
              <a:ext cx="146050" cy="166688"/>
            </a:xfrm>
            <a:custGeom>
              <a:avLst/>
              <a:gdLst>
                <a:gd name="T0" fmla="*/ 0 w 118"/>
                <a:gd name="T1" fmla="*/ 0 h 134"/>
                <a:gd name="T2" fmla="*/ 23 w 118"/>
                <a:gd name="T3" fmla="*/ 0 h 134"/>
                <a:gd name="T4" fmla="*/ 23 w 118"/>
                <a:gd name="T5" fmla="*/ 76 h 134"/>
                <a:gd name="T6" fmla="*/ 56 w 118"/>
                <a:gd name="T7" fmla="*/ 112 h 134"/>
                <a:gd name="T8" fmla="*/ 94 w 118"/>
                <a:gd name="T9" fmla="*/ 71 h 134"/>
                <a:gd name="T10" fmla="*/ 94 w 118"/>
                <a:gd name="T11" fmla="*/ 0 h 134"/>
                <a:gd name="T12" fmla="*/ 118 w 118"/>
                <a:gd name="T13" fmla="*/ 0 h 134"/>
                <a:gd name="T14" fmla="*/ 118 w 118"/>
                <a:gd name="T15" fmla="*/ 131 h 134"/>
                <a:gd name="T16" fmla="*/ 94 w 118"/>
                <a:gd name="T17" fmla="*/ 131 h 134"/>
                <a:gd name="T18" fmla="*/ 94 w 118"/>
                <a:gd name="T19" fmla="*/ 112 h 134"/>
                <a:gd name="T20" fmla="*/ 53 w 118"/>
                <a:gd name="T21" fmla="*/ 134 h 134"/>
                <a:gd name="T22" fmla="*/ 0 w 118"/>
                <a:gd name="T23" fmla="*/ 76 h 134"/>
                <a:gd name="T24" fmla="*/ 0 w 118"/>
                <a:gd name="T2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134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98"/>
                    <a:pt x="37" y="112"/>
                    <a:pt x="56" y="112"/>
                  </a:cubicBezTo>
                  <a:cubicBezTo>
                    <a:pt x="78" y="112"/>
                    <a:pt x="94" y="96"/>
                    <a:pt x="94" y="71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31"/>
                    <a:pt x="118" y="131"/>
                    <a:pt x="118" y="131"/>
                  </a:cubicBezTo>
                  <a:cubicBezTo>
                    <a:pt x="94" y="131"/>
                    <a:pt x="94" y="131"/>
                    <a:pt x="94" y="131"/>
                  </a:cubicBezTo>
                  <a:cubicBezTo>
                    <a:pt x="94" y="112"/>
                    <a:pt x="94" y="112"/>
                    <a:pt x="94" y="112"/>
                  </a:cubicBezTo>
                  <a:cubicBezTo>
                    <a:pt x="94" y="112"/>
                    <a:pt x="80" y="134"/>
                    <a:pt x="53" y="134"/>
                  </a:cubicBezTo>
                  <a:cubicBezTo>
                    <a:pt x="22" y="134"/>
                    <a:pt x="0" y="112"/>
                    <a:pt x="0" y="76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5557838" y="3841751"/>
              <a:ext cx="122238" cy="169863"/>
            </a:xfrm>
            <a:custGeom>
              <a:avLst/>
              <a:gdLst>
                <a:gd name="T0" fmla="*/ 15 w 99"/>
                <a:gd name="T1" fmla="*/ 97 h 137"/>
                <a:gd name="T2" fmla="*/ 49 w 99"/>
                <a:gd name="T3" fmla="*/ 115 h 137"/>
                <a:gd name="T4" fmla="*/ 75 w 99"/>
                <a:gd name="T5" fmla="*/ 97 h 137"/>
                <a:gd name="T6" fmla="*/ 5 w 99"/>
                <a:gd name="T7" fmla="*/ 37 h 137"/>
                <a:gd name="T8" fmla="*/ 51 w 99"/>
                <a:gd name="T9" fmla="*/ 0 h 137"/>
                <a:gd name="T10" fmla="*/ 96 w 99"/>
                <a:gd name="T11" fmla="*/ 18 h 137"/>
                <a:gd name="T12" fmla="*/ 79 w 99"/>
                <a:gd name="T13" fmla="*/ 34 h 137"/>
                <a:gd name="T14" fmla="*/ 51 w 99"/>
                <a:gd name="T15" fmla="*/ 22 h 137"/>
                <a:gd name="T16" fmla="*/ 29 w 99"/>
                <a:gd name="T17" fmla="*/ 37 h 137"/>
                <a:gd name="T18" fmla="*/ 99 w 99"/>
                <a:gd name="T19" fmla="*/ 97 h 137"/>
                <a:gd name="T20" fmla="*/ 49 w 99"/>
                <a:gd name="T21" fmla="*/ 137 h 137"/>
                <a:gd name="T22" fmla="*/ 0 w 99"/>
                <a:gd name="T23" fmla="*/ 114 h 137"/>
                <a:gd name="T24" fmla="*/ 15 w 99"/>
                <a:gd name="T25" fmla="*/ 9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137">
                  <a:moveTo>
                    <a:pt x="15" y="97"/>
                  </a:moveTo>
                  <a:cubicBezTo>
                    <a:pt x="15" y="97"/>
                    <a:pt x="27" y="115"/>
                    <a:pt x="49" y="115"/>
                  </a:cubicBezTo>
                  <a:cubicBezTo>
                    <a:pt x="67" y="115"/>
                    <a:pt x="75" y="107"/>
                    <a:pt x="75" y="97"/>
                  </a:cubicBezTo>
                  <a:cubicBezTo>
                    <a:pt x="75" y="71"/>
                    <a:pt x="5" y="82"/>
                    <a:pt x="5" y="37"/>
                  </a:cubicBezTo>
                  <a:cubicBezTo>
                    <a:pt x="5" y="18"/>
                    <a:pt x="23" y="0"/>
                    <a:pt x="51" y="0"/>
                  </a:cubicBezTo>
                  <a:cubicBezTo>
                    <a:pt x="81" y="0"/>
                    <a:pt x="96" y="18"/>
                    <a:pt x="96" y="18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4"/>
                    <a:pt x="70" y="22"/>
                    <a:pt x="51" y="22"/>
                  </a:cubicBezTo>
                  <a:cubicBezTo>
                    <a:pt x="36" y="22"/>
                    <a:pt x="29" y="29"/>
                    <a:pt x="29" y="37"/>
                  </a:cubicBezTo>
                  <a:cubicBezTo>
                    <a:pt x="29" y="61"/>
                    <a:pt x="99" y="51"/>
                    <a:pt x="99" y="97"/>
                  </a:cubicBezTo>
                  <a:cubicBezTo>
                    <a:pt x="99" y="119"/>
                    <a:pt x="81" y="137"/>
                    <a:pt x="49" y="137"/>
                  </a:cubicBezTo>
                  <a:cubicBezTo>
                    <a:pt x="16" y="137"/>
                    <a:pt x="0" y="114"/>
                    <a:pt x="0" y="114"/>
                  </a:cubicBezTo>
                  <a:lnTo>
                    <a:pt x="15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8"/>
            <p:cNvSpPr>
              <a:spLocks noEditPoints="1"/>
            </p:cNvSpPr>
            <p:nvPr userDrawn="1"/>
          </p:nvSpPr>
          <p:spPr bwMode="auto">
            <a:xfrm>
              <a:off x="5713413" y="3841751"/>
              <a:ext cx="161925" cy="169863"/>
            </a:xfrm>
            <a:custGeom>
              <a:avLst/>
              <a:gdLst>
                <a:gd name="T0" fmla="*/ 123 w 130"/>
                <a:gd name="T1" fmla="*/ 111 h 137"/>
                <a:gd name="T2" fmla="*/ 69 w 130"/>
                <a:gd name="T3" fmla="*/ 137 h 137"/>
                <a:gd name="T4" fmla="*/ 0 w 130"/>
                <a:gd name="T5" fmla="*/ 68 h 137"/>
                <a:gd name="T6" fmla="*/ 66 w 130"/>
                <a:gd name="T7" fmla="*/ 0 h 137"/>
                <a:gd name="T8" fmla="*/ 130 w 130"/>
                <a:gd name="T9" fmla="*/ 64 h 137"/>
                <a:gd name="T10" fmla="*/ 129 w 130"/>
                <a:gd name="T11" fmla="*/ 77 h 137"/>
                <a:gd name="T12" fmla="*/ 25 w 130"/>
                <a:gd name="T13" fmla="*/ 77 h 137"/>
                <a:gd name="T14" fmla="*/ 69 w 130"/>
                <a:gd name="T15" fmla="*/ 115 h 137"/>
                <a:gd name="T16" fmla="*/ 108 w 130"/>
                <a:gd name="T17" fmla="*/ 96 h 137"/>
                <a:gd name="T18" fmla="*/ 123 w 130"/>
                <a:gd name="T19" fmla="*/ 111 h 137"/>
                <a:gd name="T20" fmla="*/ 107 w 130"/>
                <a:gd name="T21" fmla="*/ 56 h 137"/>
                <a:gd name="T22" fmla="*/ 66 w 130"/>
                <a:gd name="T23" fmla="*/ 22 h 137"/>
                <a:gd name="T24" fmla="*/ 25 w 130"/>
                <a:gd name="T25" fmla="*/ 56 h 137"/>
                <a:gd name="T26" fmla="*/ 107 w 130"/>
                <a:gd name="T27" fmla="*/ 5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37">
                  <a:moveTo>
                    <a:pt x="123" y="111"/>
                  </a:moveTo>
                  <a:cubicBezTo>
                    <a:pt x="123" y="111"/>
                    <a:pt x="106" y="137"/>
                    <a:pt x="69" y="137"/>
                  </a:cubicBezTo>
                  <a:cubicBezTo>
                    <a:pt x="30" y="137"/>
                    <a:pt x="0" y="107"/>
                    <a:pt x="0" y="68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3" y="0"/>
                    <a:pt x="130" y="27"/>
                    <a:pt x="130" y="64"/>
                  </a:cubicBezTo>
                  <a:cubicBezTo>
                    <a:pt x="130" y="71"/>
                    <a:pt x="129" y="77"/>
                    <a:pt x="129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7" y="97"/>
                    <a:pt x="45" y="115"/>
                    <a:pt x="69" y="115"/>
                  </a:cubicBezTo>
                  <a:cubicBezTo>
                    <a:pt x="95" y="115"/>
                    <a:pt x="108" y="96"/>
                    <a:pt x="108" y="96"/>
                  </a:cubicBezTo>
                  <a:lnTo>
                    <a:pt x="123" y="111"/>
                  </a:lnTo>
                  <a:close/>
                  <a:moveTo>
                    <a:pt x="107" y="56"/>
                  </a:moveTo>
                  <a:cubicBezTo>
                    <a:pt x="103" y="37"/>
                    <a:pt x="88" y="22"/>
                    <a:pt x="66" y="22"/>
                  </a:cubicBezTo>
                  <a:cubicBezTo>
                    <a:pt x="44" y="22"/>
                    <a:pt x="29" y="37"/>
                    <a:pt x="25" y="56"/>
                  </a:cubicBezTo>
                  <a:lnTo>
                    <a:pt x="10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5997576" y="3768726"/>
              <a:ext cx="163513" cy="242888"/>
            </a:xfrm>
            <a:custGeom>
              <a:avLst/>
              <a:gdLst>
                <a:gd name="T0" fmla="*/ 108 w 132"/>
                <a:gd name="T1" fmla="*/ 173 h 195"/>
                <a:gd name="T2" fmla="*/ 63 w 132"/>
                <a:gd name="T3" fmla="*/ 195 h 195"/>
                <a:gd name="T4" fmla="*/ 0 w 132"/>
                <a:gd name="T5" fmla="*/ 126 h 195"/>
                <a:gd name="T6" fmla="*/ 63 w 132"/>
                <a:gd name="T7" fmla="*/ 58 h 195"/>
                <a:gd name="T8" fmla="*/ 108 w 132"/>
                <a:gd name="T9" fmla="*/ 80 h 195"/>
                <a:gd name="T10" fmla="*/ 108 w 132"/>
                <a:gd name="T11" fmla="*/ 0 h 195"/>
                <a:gd name="T12" fmla="*/ 132 w 132"/>
                <a:gd name="T13" fmla="*/ 0 h 195"/>
                <a:gd name="T14" fmla="*/ 132 w 132"/>
                <a:gd name="T15" fmla="*/ 192 h 195"/>
                <a:gd name="T16" fmla="*/ 108 w 132"/>
                <a:gd name="T17" fmla="*/ 192 h 195"/>
                <a:gd name="T18" fmla="*/ 108 w 132"/>
                <a:gd name="T19" fmla="*/ 173 h 195"/>
                <a:gd name="T20" fmla="*/ 108 w 132"/>
                <a:gd name="T21" fmla="*/ 126 h 195"/>
                <a:gd name="T22" fmla="*/ 66 w 132"/>
                <a:gd name="T23" fmla="*/ 80 h 195"/>
                <a:gd name="T24" fmla="*/ 23 w 132"/>
                <a:gd name="T25" fmla="*/ 126 h 195"/>
                <a:gd name="T26" fmla="*/ 66 w 132"/>
                <a:gd name="T27" fmla="*/ 173 h 195"/>
                <a:gd name="T28" fmla="*/ 108 w 132"/>
                <a:gd name="T29" fmla="*/ 12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95">
                  <a:moveTo>
                    <a:pt x="108" y="173"/>
                  </a:moveTo>
                  <a:cubicBezTo>
                    <a:pt x="108" y="173"/>
                    <a:pt x="94" y="195"/>
                    <a:pt x="63" y="195"/>
                  </a:cubicBezTo>
                  <a:cubicBezTo>
                    <a:pt x="29" y="195"/>
                    <a:pt x="0" y="166"/>
                    <a:pt x="0" y="126"/>
                  </a:cubicBezTo>
                  <a:cubicBezTo>
                    <a:pt x="0" y="87"/>
                    <a:pt x="29" y="58"/>
                    <a:pt x="63" y="58"/>
                  </a:cubicBezTo>
                  <a:cubicBezTo>
                    <a:pt x="95" y="58"/>
                    <a:pt x="108" y="80"/>
                    <a:pt x="108" y="8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32" y="192"/>
                    <a:pt x="132" y="192"/>
                    <a:pt x="132" y="192"/>
                  </a:cubicBezTo>
                  <a:cubicBezTo>
                    <a:pt x="108" y="192"/>
                    <a:pt x="108" y="192"/>
                    <a:pt x="108" y="192"/>
                  </a:cubicBezTo>
                  <a:lnTo>
                    <a:pt x="108" y="173"/>
                  </a:lnTo>
                  <a:close/>
                  <a:moveTo>
                    <a:pt x="108" y="126"/>
                  </a:moveTo>
                  <a:cubicBezTo>
                    <a:pt x="108" y="99"/>
                    <a:pt x="89" y="80"/>
                    <a:pt x="66" y="80"/>
                  </a:cubicBezTo>
                  <a:cubicBezTo>
                    <a:pt x="43" y="80"/>
                    <a:pt x="23" y="99"/>
                    <a:pt x="23" y="126"/>
                  </a:cubicBezTo>
                  <a:cubicBezTo>
                    <a:pt x="23" y="154"/>
                    <a:pt x="43" y="173"/>
                    <a:pt x="66" y="173"/>
                  </a:cubicBezTo>
                  <a:cubicBezTo>
                    <a:pt x="89" y="173"/>
                    <a:pt x="108" y="154"/>
                    <a:pt x="108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6207126" y="3841751"/>
              <a:ext cx="161925" cy="169863"/>
            </a:xfrm>
            <a:custGeom>
              <a:avLst/>
              <a:gdLst>
                <a:gd name="T0" fmla="*/ 123 w 130"/>
                <a:gd name="T1" fmla="*/ 111 h 137"/>
                <a:gd name="T2" fmla="*/ 68 w 130"/>
                <a:gd name="T3" fmla="*/ 137 h 137"/>
                <a:gd name="T4" fmla="*/ 0 w 130"/>
                <a:gd name="T5" fmla="*/ 68 h 137"/>
                <a:gd name="T6" fmla="*/ 65 w 130"/>
                <a:gd name="T7" fmla="*/ 0 h 137"/>
                <a:gd name="T8" fmla="*/ 130 w 130"/>
                <a:gd name="T9" fmla="*/ 64 h 137"/>
                <a:gd name="T10" fmla="*/ 128 w 130"/>
                <a:gd name="T11" fmla="*/ 77 h 137"/>
                <a:gd name="T12" fmla="*/ 24 w 130"/>
                <a:gd name="T13" fmla="*/ 77 h 137"/>
                <a:gd name="T14" fmla="*/ 68 w 130"/>
                <a:gd name="T15" fmla="*/ 115 h 137"/>
                <a:gd name="T16" fmla="*/ 108 w 130"/>
                <a:gd name="T17" fmla="*/ 96 h 137"/>
                <a:gd name="T18" fmla="*/ 123 w 130"/>
                <a:gd name="T19" fmla="*/ 111 h 137"/>
                <a:gd name="T20" fmla="*/ 106 w 130"/>
                <a:gd name="T21" fmla="*/ 56 h 137"/>
                <a:gd name="T22" fmla="*/ 65 w 130"/>
                <a:gd name="T23" fmla="*/ 22 h 137"/>
                <a:gd name="T24" fmla="*/ 24 w 130"/>
                <a:gd name="T25" fmla="*/ 56 h 137"/>
                <a:gd name="T26" fmla="*/ 106 w 130"/>
                <a:gd name="T27" fmla="*/ 5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37">
                  <a:moveTo>
                    <a:pt x="123" y="111"/>
                  </a:moveTo>
                  <a:cubicBezTo>
                    <a:pt x="123" y="111"/>
                    <a:pt x="105" y="137"/>
                    <a:pt x="68" y="137"/>
                  </a:cubicBezTo>
                  <a:cubicBezTo>
                    <a:pt x="30" y="137"/>
                    <a:pt x="0" y="107"/>
                    <a:pt x="0" y="68"/>
                  </a:cubicBezTo>
                  <a:cubicBezTo>
                    <a:pt x="0" y="30"/>
                    <a:pt x="30" y="0"/>
                    <a:pt x="65" y="0"/>
                  </a:cubicBezTo>
                  <a:cubicBezTo>
                    <a:pt x="102" y="0"/>
                    <a:pt x="130" y="27"/>
                    <a:pt x="130" y="64"/>
                  </a:cubicBezTo>
                  <a:cubicBezTo>
                    <a:pt x="130" y="71"/>
                    <a:pt x="128" y="77"/>
                    <a:pt x="128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7" y="97"/>
                    <a:pt x="45" y="115"/>
                    <a:pt x="68" y="115"/>
                  </a:cubicBezTo>
                  <a:cubicBezTo>
                    <a:pt x="94" y="115"/>
                    <a:pt x="108" y="96"/>
                    <a:pt x="108" y="96"/>
                  </a:cubicBezTo>
                  <a:lnTo>
                    <a:pt x="123" y="111"/>
                  </a:lnTo>
                  <a:close/>
                  <a:moveTo>
                    <a:pt x="106" y="56"/>
                  </a:moveTo>
                  <a:cubicBezTo>
                    <a:pt x="102" y="37"/>
                    <a:pt x="87" y="22"/>
                    <a:pt x="65" y="22"/>
                  </a:cubicBezTo>
                  <a:cubicBezTo>
                    <a:pt x="43" y="22"/>
                    <a:pt x="28" y="37"/>
                    <a:pt x="24" y="56"/>
                  </a:cubicBezTo>
                  <a:lnTo>
                    <a:pt x="106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13501" y="3841751"/>
              <a:ext cx="88900" cy="166688"/>
            </a:xfrm>
            <a:custGeom>
              <a:avLst/>
              <a:gdLst>
                <a:gd name="T0" fmla="*/ 0 w 71"/>
                <a:gd name="T1" fmla="*/ 3 h 134"/>
                <a:gd name="T2" fmla="*/ 23 w 71"/>
                <a:gd name="T3" fmla="*/ 3 h 134"/>
                <a:gd name="T4" fmla="*/ 23 w 71"/>
                <a:gd name="T5" fmla="*/ 20 h 134"/>
                <a:gd name="T6" fmla="*/ 66 w 71"/>
                <a:gd name="T7" fmla="*/ 0 h 134"/>
                <a:gd name="T8" fmla="*/ 71 w 71"/>
                <a:gd name="T9" fmla="*/ 0 h 134"/>
                <a:gd name="T10" fmla="*/ 71 w 71"/>
                <a:gd name="T11" fmla="*/ 24 h 134"/>
                <a:gd name="T12" fmla="*/ 61 w 71"/>
                <a:gd name="T13" fmla="*/ 23 h 134"/>
                <a:gd name="T14" fmla="*/ 23 w 71"/>
                <a:gd name="T15" fmla="*/ 64 h 134"/>
                <a:gd name="T16" fmla="*/ 23 w 71"/>
                <a:gd name="T17" fmla="*/ 134 h 134"/>
                <a:gd name="T18" fmla="*/ 0 w 71"/>
                <a:gd name="T19" fmla="*/ 134 h 134"/>
                <a:gd name="T20" fmla="*/ 0 w 71"/>
                <a:gd name="T21" fmla="*/ 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34">
                  <a:moveTo>
                    <a:pt x="0" y="3"/>
                  </a:moveTo>
                  <a:cubicBezTo>
                    <a:pt x="23" y="3"/>
                    <a:pt x="23" y="3"/>
                    <a:pt x="23" y="3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37" y="0"/>
                    <a:pt x="66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67" y="23"/>
                    <a:pt x="61" y="23"/>
                  </a:cubicBezTo>
                  <a:cubicBezTo>
                    <a:pt x="40" y="23"/>
                    <a:pt x="23" y="40"/>
                    <a:pt x="23" y="64"/>
                  </a:cubicBezTo>
                  <a:cubicBezTo>
                    <a:pt x="23" y="134"/>
                    <a:pt x="23" y="134"/>
                    <a:pt x="23" y="134"/>
                  </a:cubicBezTo>
                  <a:cubicBezTo>
                    <a:pt x="0" y="134"/>
                    <a:pt x="0" y="134"/>
                    <a:pt x="0" y="134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32"/>
            <p:cNvSpPr>
              <a:spLocks noEditPoints="1"/>
            </p:cNvSpPr>
            <p:nvPr userDrawn="1"/>
          </p:nvSpPr>
          <p:spPr bwMode="auto">
            <a:xfrm>
              <a:off x="6637338" y="3768726"/>
              <a:ext cx="173038" cy="239713"/>
            </a:xfrm>
            <a:custGeom>
              <a:avLst/>
              <a:gdLst>
                <a:gd name="T0" fmla="*/ 0 w 140"/>
                <a:gd name="T1" fmla="*/ 0 h 192"/>
                <a:gd name="T2" fmla="*/ 76 w 140"/>
                <a:gd name="T3" fmla="*/ 0 h 192"/>
                <a:gd name="T4" fmla="*/ 130 w 140"/>
                <a:gd name="T5" fmla="*/ 51 h 192"/>
                <a:gd name="T6" fmla="*/ 109 w 140"/>
                <a:gd name="T7" fmla="*/ 89 h 192"/>
                <a:gd name="T8" fmla="*/ 140 w 140"/>
                <a:gd name="T9" fmla="*/ 136 h 192"/>
                <a:gd name="T10" fmla="*/ 79 w 140"/>
                <a:gd name="T11" fmla="*/ 192 h 192"/>
                <a:gd name="T12" fmla="*/ 0 w 140"/>
                <a:gd name="T13" fmla="*/ 192 h 192"/>
                <a:gd name="T14" fmla="*/ 0 w 140"/>
                <a:gd name="T15" fmla="*/ 0 h 192"/>
                <a:gd name="T16" fmla="*/ 76 w 140"/>
                <a:gd name="T17" fmla="*/ 80 h 192"/>
                <a:gd name="T18" fmla="*/ 106 w 140"/>
                <a:gd name="T19" fmla="*/ 51 h 192"/>
                <a:gd name="T20" fmla="*/ 76 w 140"/>
                <a:gd name="T21" fmla="*/ 23 h 192"/>
                <a:gd name="T22" fmla="*/ 25 w 140"/>
                <a:gd name="T23" fmla="*/ 23 h 192"/>
                <a:gd name="T24" fmla="*/ 25 w 140"/>
                <a:gd name="T25" fmla="*/ 80 h 192"/>
                <a:gd name="T26" fmla="*/ 76 w 140"/>
                <a:gd name="T27" fmla="*/ 80 h 192"/>
                <a:gd name="T28" fmla="*/ 80 w 140"/>
                <a:gd name="T29" fmla="*/ 169 h 192"/>
                <a:gd name="T30" fmla="*/ 115 w 140"/>
                <a:gd name="T31" fmla="*/ 136 h 192"/>
                <a:gd name="T32" fmla="*/ 80 w 140"/>
                <a:gd name="T33" fmla="*/ 102 h 192"/>
                <a:gd name="T34" fmla="*/ 25 w 140"/>
                <a:gd name="T35" fmla="*/ 102 h 192"/>
                <a:gd name="T36" fmla="*/ 25 w 140"/>
                <a:gd name="T37" fmla="*/ 169 h 192"/>
                <a:gd name="T38" fmla="*/ 80 w 140"/>
                <a:gd name="T39" fmla="*/ 16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0" h="192">
                  <a:moveTo>
                    <a:pt x="0" y="0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107" y="0"/>
                    <a:pt x="130" y="23"/>
                    <a:pt x="130" y="51"/>
                  </a:cubicBezTo>
                  <a:cubicBezTo>
                    <a:pt x="130" y="81"/>
                    <a:pt x="109" y="89"/>
                    <a:pt x="109" y="89"/>
                  </a:cubicBezTo>
                  <a:cubicBezTo>
                    <a:pt x="109" y="89"/>
                    <a:pt x="140" y="100"/>
                    <a:pt x="140" y="136"/>
                  </a:cubicBezTo>
                  <a:cubicBezTo>
                    <a:pt x="140" y="167"/>
                    <a:pt x="115" y="192"/>
                    <a:pt x="79" y="192"/>
                  </a:cubicBezTo>
                  <a:cubicBezTo>
                    <a:pt x="0" y="192"/>
                    <a:pt x="0" y="192"/>
                    <a:pt x="0" y="192"/>
                  </a:cubicBezTo>
                  <a:lnTo>
                    <a:pt x="0" y="0"/>
                  </a:lnTo>
                  <a:close/>
                  <a:moveTo>
                    <a:pt x="76" y="80"/>
                  </a:moveTo>
                  <a:cubicBezTo>
                    <a:pt x="93" y="80"/>
                    <a:pt x="106" y="69"/>
                    <a:pt x="106" y="51"/>
                  </a:cubicBezTo>
                  <a:cubicBezTo>
                    <a:pt x="106" y="36"/>
                    <a:pt x="93" y="23"/>
                    <a:pt x="76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80"/>
                    <a:pt x="25" y="80"/>
                    <a:pt x="25" y="80"/>
                  </a:cubicBezTo>
                  <a:lnTo>
                    <a:pt x="76" y="80"/>
                  </a:lnTo>
                  <a:close/>
                  <a:moveTo>
                    <a:pt x="80" y="169"/>
                  </a:moveTo>
                  <a:cubicBezTo>
                    <a:pt x="102" y="169"/>
                    <a:pt x="115" y="155"/>
                    <a:pt x="115" y="136"/>
                  </a:cubicBezTo>
                  <a:cubicBezTo>
                    <a:pt x="115" y="117"/>
                    <a:pt x="100" y="102"/>
                    <a:pt x="80" y="102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69"/>
                    <a:pt x="25" y="169"/>
                    <a:pt x="25" y="169"/>
                  </a:cubicBezTo>
                  <a:lnTo>
                    <a:pt x="80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6848476" y="3841751"/>
              <a:ext cx="138113" cy="169863"/>
            </a:xfrm>
            <a:custGeom>
              <a:avLst/>
              <a:gdLst>
                <a:gd name="T0" fmla="*/ 88 w 111"/>
                <a:gd name="T1" fmla="*/ 116 h 137"/>
                <a:gd name="T2" fmla="*/ 46 w 111"/>
                <a:gd name="T3" fmla="*/ 137 h 137"/>
                <a:gd name="T4" fmla="*/ 0 w 111"/>
                <a:gd name="T5" fmla="*/ 99 h 137"/>
                <a:gd name="T6" fmla="*/ 39 w 111"/>
                <a:gd name="T7" fmla="*/ 59 h 137"/>
                <a:gd name="T8" fmla="*/ 88 w 111"/>
                <a:gd name="T9" fmla="*/ 51 h 137"/>
                <a:gd name="T10" fmla="*/ 58 w 111"/>
                <a:gd name="T11" fmla="*/ 22 h 137"/>
                <a:gd name="T12" fmla="*/ 22 w 111"/>
                <a:gd name="T13" fmla="*/ 40 h 137"/>
                <a:gd name="T14" fmla="*/ 7 w 111"/>
                <a:gd name="T15" fmla="*/ 24 h 137"/>
                <a:gd name="T16" fmla="*/ 58 w 111"/>
                <a:gd name="T17" fmla="*/ 0 h 137"/>
                <a:gd name="T18" fmla="*/ 111 w 111"/>
                <a:gd name="T19" fmla="*/ 51 h 137"/>
                <a:gd name="T20" fmla="*/ 111 w 111"/>
                <a:gd name="T21" fmla="*/ 134 h 137"/>
                <a:gd name="T22" fmla="*/ 88 w 111"/>
                <a:gd name="T23" fmla="*/ 134 h 137"/>
                <a:gd name="T24" fmla="*/ 88 w 111"/>
                <a:gd name="T25" fmla="*/ 116 h 137"/>
                <a:gd name="T26" fmla="*/ 88 w 111"/>
                <a:gd name="T27" fmla="*/ 70 h 137"/>
                <a:gd name="T28" fmla="*/ 46 w 111"/>
                <a:gd name="T29" fmla="*/ 77 h 137"/>
                <a:gd name="T30" fmla="*/ 24 w 111"/>
                <a:gd name="T31" fmla="*/ 97 h 137"/>
                <a:gd name="T32" fmla="*/ 48 w 111"/>
                <a:gd name="T33" fmla="*/ 116 h 137"/>
                <a:gd name="T34" fmla="*/ 88 w 111"/>
                <a:gd name="T35" fmla="*/ 75 h 137"/>
                <a:gd name="T36" fmla="*/ 88 w 111"/>
                <a:gd name="T37" fmla="*/ 7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" h="137">
                  <a:moveTo>
                    <a:pt x="88" y="116"/>
                  </a:moveTo>
                  <a:cubicBezTo>
                    <a:pt x="88" y="116"/>
                    <a:pt x="74" y="137"/>
                    <a:pt x="46" y="137"/>
                  </a:cubicBezTo>
                  <a:cubicBezTo>
                    <a:pt x="18" y="137"/>
                    <a:pt x="0" y="119"/>
                    <a:pt x="0" y="99"/>
                  </a:cubicBezTo>
                  <a:cubicBezTo>
                    <a:pt x="0" y="77"/>
                    <a:pt x="14" y="63"/>
                    <a:pt x="39" y="59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34"/>
                    <a:pt x="76" y="22"/>
                    <a:pt x="58" y="22"/>
                  </a:cubicBezTo>
                  <a:cubicBezTo>
                    <a:pt x="36" y="22"/>
                    <a:pt x="22" y="40"/>
                    <a:pt x="22" y="4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25" y="0"/>
                    <a:pt x="58" y="0"/>
                  </a:cubicBezTo>
                  <a:cubicBezTo>
                    <a:pt x="90" y="0"/>
                    <a:pt x="111" y="22"/>
                    <a:pt x="111" y="51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88" y="134"/>
                    <a:pt x="88" y="134"/>
                    <a:pt x="88" y="134"/>
                  </a:cubicBezTo>
                  <a:lnTo>
                    <a:pt x="88" y="116"/>
                  </a:lnTo>
                  <a:close/>
                  <a:moveTo>
                    <a:pt x="88" y="70"/>
                  </a:moveTo>
                  <a:cubicBezTo>
                    <a:pt x="46" y="77"/>
                    <a:pt x="46" y="77"/>
                    <a:pt x="46" y="77"/>
                  </a:cubicBezTo>
                  <a:cubicBezTo>
                    <a:pt x="32" y="79"/>
                    <a:pt x="24" y="88"/>
                    <a:pt x="24" y="97"/>
                  </a:cubicBezTo>
                  <a:cubicBezTo>
                    <a:pt x="24" y="108"/>
                    <a:pt x="32" y="116"/>
                    <a:pt x="48" y="116"/>
                  </a:cubicBezTo>
                  <a:cubicBezTo>
                    <a:pt x="70" y="116"/>
                    <a:pt x="88" y="99"/>
                    <a:pt x="88" y="75"/>
                  </a:cubicBezTo>
                  <a:lnTo>
                    <a:pt x="88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7040563" y="3844926"/>
              <a:ext cx="146050" cy="166688"/>
            </a:xfrm>
            <a:custGeom>
              <a:avLst/>
              <a:gdLst>
                <a:gd name="T0" fmla="*/ 0 w 118"/>
                <a:gd name="T1" fmla="*/ 0 h 134"/>
                <a:gd name="T2" fmla="*/ 23 w 118"/>
                <a:gd name="T3" fmla="*/ 0 h 134"/>
                <a:gd name="T4" fmla="*/ 23 w 118"/>
                <a:gd name="T5" fmla="*/ 76 h 134"/>
                <a:gd name="T6" fmla="*/ 56 w 118"/>
                <a:gd name="T7" fmla="*/ 112 h 134"/>
                <a:gd name="T8" fmla="*/ 94 w 118"/>
                <a:gd name="T9" fmla="*/ 71 h 134"/>
                <a:gd name="T10" fmla="*/ 94 w 118"/>
                <a:gd name="T11" fmla="*/ 0 h 134"/>
                <a:gd name="T12" fmla="*/ 118 w 118"/>
                <a:gd name="T13" fmla="*/ 0 h 134"/>
                <a:gd name="T14" fmla="*/ 118 w 118"/>
                <a:gd name="T15" fmla="*/ 131 h 134"/>
                <a:gd name="T16" fmla="*/ 94 w 118"/>
                <a:gd name="T17" fmla="*/ 131 h 134"/>
                <a:gd name="T18" fmla="*/ 94 w 118"/>
                <a:gd name="T19" fmla="*/ 112 h 134"/>
                <a:gd name="T20" fmla="*/ 53 w 118"/>
                <a:gd name="T21" fmla="*/ 134 h 134"/>
                <a:gd name="T22" fmla="*/ 0 w 118"/>
                <a:gd name="T23" fmla="*/ 76 h 134"/>
                <a:gd name="T24" fmla="*/ 0 w 118"/>
                <a:gd name="T2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134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98"/>
                    <a:pt x="37" y="112"/>
                    <a:pt x="56" y="112"/>
                  </a:cubicBezTo>
                  <a:cubicBezTo>
                    <a:pt x="78" y="112"/>
                    <a:pt x="94" y="96"/>
                    <a:pt x="94" y="71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31"/>
                    <a:pt x="118" y="131"/>
                    <a:pt x="118" y="131"/>
                  </a:cubicBezTo>
                  <a:cubicBezTo>
                    <a:pt x="94" y="131"/>
                    <a:pt x="94" y="131"/>
                    <a:pt x="94" y="131"/>
                  </a:cubicBezTo>
                  <a:cubicBezTo>
                    <a:pt x="94" y="112"/>
                    <a:pt x="94" y="112"/>
                    <a:pt x="94" y="112"/>
                  </a:cubicBezTo>
                  <a:cubicBezTo>
                    <a:pt x="94" y="112"/>
                    <a:pt x="81" y="134"/>
                    <a:pt x="53" y="134"/>
                  </a:cubicBezTo>
                  <a:cubicBezTo>
                    <a:pt x="22" y="134"/>
                    <a:pt x="0" y="112"/>
                    <a:pt x="0" y="76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7226301" y="3765551"/>
              <a:ext cx="98425" cy="242888"/>
            </a:xfrm>
            <a:custGeom>
              <a:avLst/>
              <a:gdLst>
                <a:gd name="T0" fmla="*/ 21 w 79"/>
                <a:gd name="T1" fmla="*/ 85 h 195"/>
                <a:gd name="T2" fmla="*/ 0 w 79"/>
                <a:gd name="T3" fmla="*/ 85 h 195"/>
                <a:gd name="T4" fmla="*/ 0 w 79"/>
                <a:gd name="T5" fmla="*/ 64 h 195"/>
                <a:gd name="T6" fmla="*/ 21 w 79"/>
                <a:gd name="T7" fmla="*/ 64 h 195"/>
                <a:gd name="T8" fmla="*/ 21 w 79"/>
                <a:gd name="T9" fmla="*/ 42 h 195"/>
                <a:gd name="T10" fmla="*/ 59 w 79"/>
                <a:gd name="T11" fmla="*/ 0 h 195"/>
                <a:gd name="T12" fmla="*/ 79 w 79"/>
                <a:gd name="T13" fmla="*/ 5 h 195"/>
                <a:gd name="T14" fmla="*/ 79 w 79"/>
                <a:gd name="T15" fmla="*/ 26 h 195"/>
                <a:gd name="T16" fmla="*/ 62 w 79"/>
                <a:gd name="T17" fmla="*/ 22 h 195"/>
                <a:gd name="T18" fmla="*/ 44 w 79"/>
                <a:gd name="T19" fmla="*/ 43 h 195"/>
                <a:gd name="T20" fmla="*/ 44 w 79"/>
                <a:gd name="T21" fmla="*/ 64 h 195"/>
                <a:gd name="T22" fmla="*/ 75 w 79"/>
                <a:gd name="T23" fmla="*/ 64 h 195"/>
                <a:gd name="T24" fmla="*/ 75 w 79"/>
                <a:gd name="T25" fmla="*/ 85 h 195"/>
                <a:gd name="T26" fmla="*/ 44 w 79"/>
                <a:gd name="T27" fmla="*/ 85 h 195"/>
                <a:gd name="T28" fmla="*/ 44 w 79"/>
                <a:gd name="T29" fmla="*/ 195 h 195"/>
                <a:gd name="T30" fmla="*/ 21 w 79"/>
                <a:gd name="T31" fmla="*/ 195 h 195"/>
                <a:gd name="T32" fmla="*/ 21 w 79"/>
                <a:gd name="T33" fmla="*/ 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" h="195">
                  <a:moveTo>
                    <a:pt x="21" y="85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15"/>
                    <a:pt x="36" y="0"/>
                    <a:pt x="59" y="0"/>
                  </a:cubicBezTo>
                  <a:cubicBezTo>
                    <a:pt x="71" y="0"/>
                    <a:pt x="79" y="5"/>
                    <a:pt x="79" y="5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1" y="22"/>
                    <a:pt x="62" y="22"/>
                  </a:cubicBezTo>
                  <a:cubicBezTo>
                    <a:pt x="51" y="22"/>
                    <a:pt x="44" y="29"/>
                    <a:pt x="44" y="43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85"/>
                    <a:pt x="75" y="85"/>
                    <a:pt x="75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195"/>
                    <a:pt x="44" y="195"/>
                    <a:pt x="44" y="195"/>
                  </a:cubicBezTo>
                  <a:cubicBezTo>
                    <a:pt x="21" y="195"/>
                    <a:pt x="21" y="195"/>
                    <a:pt x="21" y="195"/>
                  </a:cubicBezTo>
                  <a:lnTo>
                    <a:pt x="21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6"/>
            <p:cNvSpPr>
              <a:spLocks noEditPoints="1"/>
            </p:cNvSpPr>
            <p:nvPr userDrawn="1"/>
          </p:nvSpPr>
          <p:spPr bwMode="auto">
            <a:xfrm>
              <a:off x="7358063" y="3771901"/>
              <a:ext cx="36513" cy="236538"/>
            </a:xfrm>
            <a:custGeom>
              <a:avLst/>
              <a:gdLst>
                <a:gd name="T0" fmla="*/ 15 w 30"/>
                <a:gd name="T1" fmla="*/ 0 h 189"/>
                <a:gd name="T2" fmla="*/ 30 w 30"/>
                <a:gd name="T3" fmla="*/ 15 h 189"/>
                <a:gd name="T4" fmla="*/ 15 w 30"/>
                <a:gd name="T5" fmla="*/ 30 h 189"/>
                <a:gd name="T6" fmla="*/ 0 w 30"/>
                <a:gd name="T7" fmla="*/ 15 h 189"/>
                <a:gd name="T8" fmla="*/ 15 w 30"/>
                <a:gd name="T9" fmla="*/ 0 h 189"/>
                <a:gd name="T10" fmla="*/ 4 w 30"/>
                <a:gd name="T11" fmla="*/ 58 h 189"/>
                <a:gd name="T12" fmla="*/ 28 w 30"/>
                <a:gd name="T13" fmla="*/ 58 h 189"/>
                <a:gd name="T14" fmla="*/ 28 w 30"/>
                <a:gd name="T15" fmla="*/ 189 h 189"/>
                <a:gd name="T16" fmla="*/ 4 w 30"/>
                <a:gd name="T17" fmla="*/ 189 h 189"/>
                <a:gd name="T18" fmla="*/ 4 w 30"/>
                <a:gd name="T19" fmla="*/ 5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9">
                  <a:moveTo>
                    <a:pt x="15" y="0"/>
                  </a:moveTo>
                  <a:cubicBezTo>
                    <a:pt x="23" y="0"/>
                    <a:pt x="30" y="7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lose/>
                  <a:moveTo>
                    <a:pt x="4" y="58"/>
                  </a:moveTo>
                  <a:cubicBezTo>
                    <a:pt x="28" y="58"/>
                    <a:pt x="28" y="58"/>
                    <a:pt x="28" y="58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4" y="189"/>
                    <a:pt x="4" y="189"/>
                    <a:pt x="4" y="189"/>
                  </a:cubicBezTo>
                  <a:lnTo>
                    <a:pt x="4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446963" y="3841751"/>
              <a:ext cx="146050" cy="166688"/>
            </a:xfrm>
            <a:custGeom>
              <a:avLst/>
              <a:gdLst>
                <a:gd name="T0" fmla="*/ 0 w 118"/>
                <a:gd name="T1" fmla="*/ 3 h 134"/>
                <a:gd name="T2" fmla="*/ 23 w 118"/>
                <a:gd name="T3" fmla="*/ 3 h 134"/>
                <a:gd name="T4" fmla="*/ 23 w 118"/>
                <a:gd name="T5" fmla="*/ 22 h 134"/>
                <a:gd name="T6" fmla="*/ 65 w 118"/>
                <a:gd name="T7" fmla="*/ 0 h 134"/>
                <a:gd name="T8" fmla="*/ 118 w 118"/>
                <a:gd name="T9" fmla="*/ 57 h 134"/>
                <a:gd name="T10" fmla="*/ 118 w 118"/>
                <a:gd name="T11" fmla="*/ 134 h 134"/>
                <a:gd name="T12" fmla="*/ 95 w 118"/>
                <a:gd name="T13" fmla="*/ 134 h 134"/>
                <a:gd name="T14" fmla="*/ 95 w 118"/>
                <a:gd name="T15" fmla="*/ 57 h 134"/>
                <a:gd name="T16" fmla="*/ 62 w 118"/>
                <a:gd name="T17" fmla="*/ 22 h 134"/>
                <a:gd name="T18" fmla="*/ 23 w 118"/>
                <a:gd name="T19" fmla="*/ 63 h 134"/>
                <a:gd name="T20" fmla="*/ 23 w 118"/>
                <a:gd name="T21" fmla="*/ 134 h 134"/>
                <a:gd name="T22" fmla="*/ 0 w 118"/>
                <a:gd name="T23" fmla="*/ 134 h 134"/>
                <a:gd name="T24" fmla="*/ 0 w 118"/>
                <a:gd name="T25" fmla="*/ 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134">
                  <a:moveTo>
                    <a:pt x="0" y="3"/>
                  </a:moveTo>
                  <a:cubicBezTo>
                    <a:pt x="23" y="3"/>
                    <a:pt x="23" y="3"/>
                    <a:pt x="23" y="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37" y="0"/>
                    <a:pt x="65" y="0"/>
                  </a:cubicBezTo>
                  <a:cubicBezTo>
                    <a:pt x="96" y="0"/>
                    <a:pt x="118" y="22"/>
                    <a:pt x="118" y="57"/>
                  </a:cubicBezTo>
                  <a:cubicBezTo>
                    <a:pt x="118" y="134"/>
                    <a:pt x="118" y="134"/>
                    <a:pt x="118" y="134"/>
                  </a:cubicBezTo>
                  <a:cubicBezTo>
                    <a:pt x="95" y="134"/>
                    <a:pt x="95" y="134"/>
                    <a:pt x="95" y="134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35"/>
                    <a:pt x="81" y="22"/>
                    <a:pt x="62" y="22"/>
                  </a:cubicBezTo>
                  <a:cubicBezTo>
                    <a:pt x="40" y="22"/>
                    <a:pt x="23" y="38"/>
                    <a:pt x="23" y="63"/>
                  </a:cubicBezTo>
                  <a:cubicBezTo>
                    <a:pt x="23" y="134"/>
                    <a:pt x="23" y="134"/>
                    <a:pt x="23" y="134"/>
                  </a:cubicBezTo>
                  <a:cubicBezTo>
                    <a:pt x="0" y="134"/>
                    <a:pt x="0" y="134"/>
                    <a:pt x="0" y="134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7635876" y="3841751"/>
              <a:ext cx="138113" cy="169863"/>
            </a:xfrm>
            <a:custGeom>
              <a:avLst/>
              <a:gdLst>
                <a:gd name="T0" fmla="*/ 88 w 111"/>
                <a:gd name="T1" fmla="*/ 116 h 137"/>
                <a:gd name="T2" fmla="*/ 46 w 111"/>
                <a:gd name="T3" fmla="*/ 137 h 137"/>
                <a:gd name="T4" fmla="*/ 0 w 111"/>
                <a:gd name="T5" fmla="*/ 99 h 137"/>
                <a:gd name="T6" fmla="*/ 39 w 111"/>
                <a:gd name="T7" fmla="*/ 59 h 137"/>
                <a:gd name="T8" fmla="*/ 88 w 111"/>
                <a:gd name="T9" fmla="*/ 51 h 137"/>
                <a:gd name="T10" fmla="*/ 58 w 111"/>
                <a:gd name="T11" fmla="*/ 22 h 137"/>
                <a:gd name="T12" fmla="*/ 22 w 111"/>
                <a:gd name="T13" fmla="*/ 40 h 137"/>
                <a:gd name="T14" fmla="*/ 7 w 111"/>
                <a:gd name="T15" fmla="*/ 24 h 137"/>
                <a:gd name="T16" fmla="*/ 58 w 111"/>
                <a:gd name="T17" fmla="*/ 0 h 137"/>
                <a:gd name="T18" fmla="*/ 111 w 111"/>
                <a:gd name="T19" fmla="*/ 51 h 137"/>
                <a:gd name="T20" fmla="*/ 111 w 111"/>
                <a:gd name="T21" fmla="*/ 134 h 137"/>
                <a:gd name="T22" fmla="*/ 88 w 111"/>
                <a:gd name="T23" fmla="*/ 134 h 137"/>
                <a:gd name="T24" fmla="*/ 88 w 111"/>
                <a:gd name="T25" fmla="*/ 116 h 137"/>
                <a:gd name="T26" fmla="*/ 88 w 111"/>
                <a:gd name="T27" fmla="*/ 70 h 137"/>
                <a:gd name="T28" fmla="*/ 46 w 111"/>
                <a:gd name="T29" fmla="*/ 77 h 137"/>
                <a:gd name="T30" fmla="*/ 24 w 111"/>
                <a:gd name="T31" fmla="*/ 97 h 137"/>
                <a:gd name="T32" fmla="*/ 48 w 111"/>
                <a:gd name="T33" fmla="*/ 116 h 137"/>
                <a:gd name="T34" fmla="*/ 88 w 111"/>
                <a:gd name="T35" fmla="*/ 75 h 137"/>
                <a:gd name="T36" fmla="*/ 88 w 111"/>
                <a:gd name="T37" fmla="*/ 7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" h="137">
                  <a:moveTo>
                    <a:pt x="88" y="116"/>
                  </a:moveTo>
                  <a:cubicBezTo>
                    <a:pt x="88" y="116"/>
                    <a:pt x="74" y="137"/>
                    <a:pt x="46" y="137"/>
                  </a:cubicBezTo>
                  <a:cubicBezTo>
                    <a:pt x="18" y="137"/>
                    <a:pt x="0" y="119"/>
                    <a:pt x="0" y="99"/>
                  </a:cubicBezTo>
                  <a:cubicBezTo>
                    <a:pt x="0" y="77"/>
                    <a:pt x="14" y="63"/>
                    <a:pt x="39" y="59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34"/>
                    <a:pt x="76" y="22"/>
                    <a:pt x="58" y="22"/>
                  </a:cubicBezTo>
                  <a:cubicBezTo>
                    <a:pt x="36" y="22"/>
                    <a:pt x="22" y="40"/>
                    <a:pt x="22" y="4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25" y="0"/>
                    <a:pt x="58" y="0"/>
                  </a:cubicBezTo>
                  <a:cubicBezTo>
                    <a:pt x="89" y="0"/>
                    <a:pt x="111" y="22"/>
                    <a:pt x="111" y="51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88" y="134"/>
                    <a:pt x="88" y="134"/>
                    <a:pt x="88" y="134"/>
                  </a:cubicBezTo>
                  <a:lnTo>
                    <a:pt x="88" y="116"/>
                  </a:lnTo>
                  <a:close/>
                  <a:moveTo>
                    <a:pt x="88" y="70"/>
                  </a:moveTo>
                  <a:cubicBezTo>
                    <a:pt x="46" y="77"/>
                    <a:pt x="46" y="77"/>
                    <a:pt x="46" y="77"/>
                  </a:cubicBezTo>
                  <a:cubicBezTo>
                    <a:pt x="32" y="79"/>
                    <a:pt x="24" y="88"/>
                    <a:pt x="24" y="97"/>
                  </a:cubicBezTo>
                  <a:cubicBezTo>
                    <a:pt x="24" y="108"/>
                    <a:pt x="32" y="116"/>
                    <a:pt x="48" y="116"/>
                  </a:cubicBezTo>
                  <a:cubicBezTo>
                    <a:pt x="70" y="116"/>
                    <a:pt x="88" y="99"/>
                    <a:pt x="88" y="75"/>
                  </a:cubicBezTo>
                  <a:lnTo>
                    <a:pt x="88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827963" y="3841751"/>
              <a:ext cx="147638" cy="166688"/>
            </a:xfrm>
            <a:custGeom>
              <a:avLst/>
              <a:gdLst>
                <a:gd name="T0" fmla="*/ 0 w 118"/>
                <a:gd name="T1" fmla="*/ 3 h 134"/>
                <a:gd name="T2" fmla="*/ 23 w 118"/>
                <a:gd name="T3" fmla="*/ 3 h 134"/>
                <a:gd name="T4" fmla="*/ 23 w 118"/>
                <a:gd name="T5" fmla="*/ 22 h 134"/>
                <a:gd name="T6" fmla="*/ 65 w 118"/>
                <a:gd name="T7" fmla="*/ 0 h 134"/>
                <a:gd name="T8" fmla="*/ 118 w 118"/>
                <a:gd name="T9" fmla="*/ 57 h 134"/>
                <a:gd name="T10" fmla="*/ 118 w 118"/>
                <a:gd name="T11" fmla="*/ 134 h 134"/>
                <a:gd name="T12" fmla="*/ 95 w 118"/>
                <a:gd name="T13" fmla="*/ 134 h 134"/>
                <a:gd name="T14" fmla="*/ 95 w 118"/>
                <a:gd name="T15" fmla="*/ 57 h 134"/>
                <a:gd name="T16" fmla="*/ 62 w 118"/>
                <a:gd name="T17" fmla="*/ 22 h 134"/>
                <a:gd name="T18" fmla="*/ 23 w 118"/>
                <a:gd name="T19" fmla="*/ 63 h 134"/>
                <a:gd name="T20" fmla="*/ 23 w 118"/>
                <a:gd name="T21" fmla="*/ 134 h 134"/>
                <a:gd name="T22" fmla="*/ 0 w 118"/>
                <a:gd name="T23" fmla="*/ 134 h 134"/>
                <a:gd name="T24" fmla="*/ 0 w 118"/>
                <a:gd name="T25" fmla="*/ 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134">
                  <a:moveTo>
                    <a:pt x="0" y="3"/>
                  </a:moveTo>
                  <a:cubicBezTo>
                    <a:pt x="23" y="3"/>
                    <a:pt x="23" y="3"/>
                    <a:pt x="23" y="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37" y="0"/>
                    <a:pt x="65" y="0"/>
                  </a:cubicBezTo>
                  <a:cubicBezTo>
                    <a:pt x="96" y="0"/>
                    <a:pt x="118" y="22"/>
                    <a:pt x="118" y="57"/>
                  </a:cubicBezTo>
                  <a:cubicBezTo>
                    <a:pt x="118" y="134"/>
                    <a:pt x="118" y="134"/>
                    <a:pt x="118" y="134"/>
                  </a:cubicBezTo>
                  <a:cubicBezTo>
                    <a:pt x="95" y="134"/>
                    <a:pt x="95" y="134"/>
                    <a:pt x="95" y="134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35"/>
                    <a:pt x="81" y="22"/>
                    <a:pt x="62" y="22"/>
                  </a:cubicBezTo>
                  <a:cubicBezTo>
                    <a:pt x="40" y="22"/>
                    <a:pt x="23" y="38"/>
                    <a:pt x="23" y="63"/>
                  </a:cubicBezTo>
                  <a:cubicBezTo>
                    <a:pt x="23" y="134"/>
                    <a:pt x="23" y="134"/>
                    <a:pt x="23" y="134"/>
                  </a:cubicBezTo>
                  <a:cubicBezTo>
                    <a:pt x="0" y="134"/>
                    <a:pt x="0" y="134"/>
                    <a:pt x="0" y="134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8013701" y="3844926"/>
              <a:ext cx="134938" cy="163513"/>
            </a:xfrm>
            <a:custGeom>
              <a:avLst/>
              <a:gdLst>
                <a:gd name="T0" fmla="*/ 0 w 85"/>
                <a:gd name="T1" fmla="*/ 85 h 103"/>
                <a:gd name="T2" fmla="*/ 60 w 85"/>
                <a:gd name="T3" fmla="*/ 16 h 103"/>
                <a:gd name="T4" fmla="*/ 2 w 85"/>
                <a:gd name="T5" fmla="*/ 16 h 103"/>
                <a:gd name="T6" fmla="*/ 2 w 85"/>
                <a:gd name="T7" fmla="*/ 0 h 103"/>
                <a:gd name="T8" fmla="*/ 83 w 85"/>
                <a:gd name="T9" fmla="*/ 0 h 103"/>
                <a:gd name="T10" fmla="*/ 83 w 85"/>
                <a:gd name="T11" fmla="*/ 16 h 103"/>
                <a:gd name="T12" fmla="*/ 24 w 85"/>
                <a:gd name="T13" fmla="*/ 85 h 103"/>
                <a:gd name="T14" fmla="*/ 85 w 85"/>
                <a:gd name="T15" fmla="*/ 85 h 103"/>
                <a:gd name="T16" fmla="*/ 85 w 85"/>
                <a:gd name="T17" fmla="*/ 103 h 103"/>
                <a:gd name="T18" fmla="*/ 0 w 85"/>
                <a:gd name="T19" fmla="*/ 103 h 103"/>
                <a:gd name="T20" fmla="*/ 0 w 85"/>
                <a:gd name="T21" fmla="*/ 8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03">
                  <a:moveTo>
                    <a:pt x="0" y="85"/>
                  </a:moveTo>
                  <a:lnTo>
                    <a:pt x="60" y="16"/>
                  </a:lnTo>
                  <a:lnTo>
                    <a:pt x="2" y="16"/>
                  </a:lnTo>
                  <a:lnTo>
                    <a:pt x="2" y="0"/>
                  </a:lnTo>
                  <a:lnTo>
                    <a:pt x="83" y="0"/>
                  </a:lnTo>
                  <a:lnTo>
                    <a:pt x="83" y="16"/>
                  </a:lnTo>
                  <a:lnTo>
                    <a:pt x="24" y="85"/>
                  </a:lnTo>
                  <a:lnTo>
                    <a:pt x="85" y="85"/>
                  </a:lnTo>
                  <a:lnTo>
                    <a:pt x="85" y="103"/>
                  </a:lnTo>
                  <a:lnTo>
                    <a:pt x="0" y="103"/>
                  </a:lnTo>
                  <a:lnTo>
                    <a:pt x="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83563" y="3771901"/>
              <a:ext cx="36513" cy="236538"/>
            </a:xfrm>
            <a:custGeom>
              <a:avLst/>
              <a:gdLst>
                <a:gd name="T0" fmla="*/ 15 w 30"/>
                <a:gd name="T1" fmla="*/ 0 h 189"/>
                <a:gd name="T2" fmla="*/ 30 w 30"/>
                <a:gd name="T3" fmla="*/ 15 h 189"/>
                <a:gd name="T4" fmla="*/ 15 w 30"/>
                <a:gd name="T5" fmla="*/ 30 h 189"/>
                <a:gd name="T6" fmla="*/ 0 w 30"/>
                <a:gd name="T7" fmla="*/ 15 h 189"/>
                <a:gd name="T8" fmla="*/ 15 w 30"/>
                <a:gd name="T9" fmla="*/ 0 h 189"/>
                <a:gd name="T10" fmla="*/ 4 w 30"/>
                <a:gd name="T11" fmla="*/ 58 h 189"/>
                <a:gd name="T12" fmla="*/ 28 w 30"/>
                <a:gd name="T13" fmla="*/ 58 h 189"/>
                <a:gd name="T14" fmla="*/ 28 w 30"/>
                <a:gd name="T15" fmla="*/ 189 h 189"/>
                <a:gd name="T16" fmla="*/ 4 w 30"/>
                <a:gd name="T17" fmla="*/ 189 h 189"/>
                <a:gd name="T18" fmla="*/ 4 w 30"/>
                <a:gd name="T19" fmla="*/ 5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189">
                  <a:moveTo>
                    <a:pt x="15" y="0"/>
                  </a:moveTo>
                  <a:cubicBezTo>
                    <a:pt x="24" y="0"/>
                    <a:pt x="30" y="7"/>
                    <a:pt x="30" y="15"/>
                  </a:cubicBezTo>
                  <a:cubicBezTo>
                    <a:pt x="30" y="23"/>
                    <a:pt x="24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lose/>
                  <a:moveTo>
                    <a:pt x="4" y="58"/>
                  </a:moveTo>
                  <a:cubicBezTo>
                    <a:pt x="28" y="58"/>
                    <a:pt x="28" y="58"/>
                    <a:pt x="28" y="58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4" y="189"/>
                    <a:pt x="4" y="189"/>
                    <a:pt x="4" y="189"/>
                  </a:cubicBezTo>
                  <a:lnTo>
                    <a:pt x="4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8262938" y="3841751"/>
              <a:ext cx="160338" cy="169863"/>
            </a:xfrm>
            <a:custGeom>
              <a:avLst/>
              <a:gdLst>
                <a:gd name="T0" fmla="*/ 123 w 130"/>
                <a:gd name="T1" fmla="*/ 111 h 137"/>
                <a:gd name="T2" fmla="*/ 68 w 130"/>
                <a:gd name="T3" fmla="*/ 137 h 137"/>
                <a:gd name="T4" fmla="*/ 0 w 130"/>
                <a:gd name="T5" fmla="*/ 68 h 137"/>
                <a:gd name="T6" fmla="*/ 66 w 130"/>
                <a:gd name="T7" fmla="*/ 0 h 137"/>
                <a:gd name="T8" fmla="*/ 130 w 130"/>
                <a:gd name="T9" fmla="*/ 64 h 137"/>
                <a:gd name="T10" fmla="*/ 129 w 130"/>
                <a:gd name="T11" fmla="*/ 77 h 137"/>
                <a:gd name="T12" fmla="*/ 25 w 130"/>
                <a:gd name="T13" fmla="*/ 77 h 137"/>
                <a:gd name="T14" fmla="*/ 68 w 130"/>
                <a:gd name="T15" fmla="*/ 115 h 137"/>
                <a:gd name="T16" fmla="*/ 108 w 130"/>
                <a:gd name="T17" fmla="*/ 96 h 137"/>
                <a:gd name="T18" fmla="*/ 123 w 130"/>
                <a:gd name="T19" fmla="*/ 111 h 137"/>
                <a:gd name="T20" fmla="*/ 107 w 130"/>
                <a:gd name="T21" fmla="*/ 56 h 137"/>
                <a:gd name="T22" fmla="*/ 66 w 130"/>
                <a:gd name="T23" fmla="*/ 22 h 137"/>
                <a:gd name="T24" fmla="*/ 25 w 130"/>
                <a:gd name="T25" fmla="*/ 56 h 137"/>
                <a:gd name="T26" fmla="*/ 107 w 130"/>
                <a:gd name="T27" fmla="*/ 5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137">
                  <a:moveTo>
                    <a:pt x="123" y="111"/>
                  </a:moveTo>
                  <a:cubicBezTo>
                    <a:pt x="123" y="111"/>
                    <a:pt x="106" y="137"/>
                    <a:pt x="68" y="137"/>
                  </a:cubicBezTo>
                  <a:cubicBezTo>
                    <a:pt x="30" y="137"/>
                    <a:pt x="0" y="107"/>
                    <a:pt x="0" y="68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3" y="0"/>
                    <a:pt x="130" y="27"/>
                    <a:pt x="130" y="64"/>
                  </a:cubicBezTo>
                  <a:cubicBezTo>
                    <a:pt x="130" y="71"/>
                    <a:pt x="129" y="77"/>
                    <a:pt x="129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7" y="97"/>
                    <a:pt x="45" y="115"/>
                    <a:pt x="68" y="115"/>
                  </a:cubicBezTo>
                  <a:cubicBezTo>
                    <a:pt x="95" y="115"/>
                    <a:pt x="108" y="96"/>
                    <a:pt x="108" y="96"/>
                  </a:cubicBezTo>
                  <a:lnTo>
                    <a:pt x="123" y="111"/>
                  </a:lnTo>
                  <a:close/>
                  <a:moveTo>
                    <a:pt x="107" y="56"/>
                  </a:moveTo>
                  <a:cubicBezTo>
                    <a:pt x="103" y="37"/>
                    <a:pt x="88" y="22"/>
                    <a:pt x="66" y="22"/>
                  </a:cubicBezTo>
                  <a:cubicBezTo>
                    <a:pt x="44" y="22"/>
                    <a:pt x="29" y="37"/>
                    <a:pt x="25" y="56"/>
                  </a:cubicBezTo>
                  <a:lnTo>
                    <a:pt x="107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69313" y="3841751"/>
              <a:ext cx="87313" cy="166688"/>
            </a:xfrm>
            <a:custGeom>
              <a:avLst/>
              <a:gdLst>
                <a:gd name="T0" fmla="*/ 0 w 71"/>
                <a:gd name="T1" fmla="*/ 3 h 134"/>
                <a:gd name="T2" fmla="*/ 23 w 71"/>
                <a:gd name="T3" fmla="*/ 3 h 134"/>
                <a:gd name="T4" fmla="*/ 23 w 71"/>
                <a:gd name="T5" fmla="*/ 20 h 134"/>
                <a:gd name="T6" fmla="*/ 66 w 71"/>
                <a:gd name="T7" fmla="*/ 0 h 134"/>
                <a:gd name="T8" fmla="*/ 71 w 71"/>
                <a:gd name="T9" fmla="*/ 0 h 134"/>
                <a:gd name="T10" fmla="*/ 71 w 71"/>
                <a:gd name="T11" fmla="*/ 24 h 134"/>
                <a:gd name="T12" fmla="*/ 62 w 71"/>
                <a:gd name="T13" fmla="*/ 23 h 134"/>
                <a:gd name="T14" fmla="*/ 23 w 71"/>
                <a:gd name="T15" fmla="*/ 64 h 134"/>
                <a:gd name="T16" fmla="*/ 23 w 71"/>
                <a:gd name="T17" fmla="*/ 134 h 134"/>
                <a:gd name="T18" fmla="*/ 0 w 71"/>
                <a:gd name="T19" fmla="*/ 134 h 134"/>
                <a:gd name="T20" fmla="*/ 0 w 71"/>
                <a:gd name="T21" fmla="*/ 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34">
                  <a:moveTo>
                    <a:pt x="0" y="3"/>
                  </a:moveTo>
                  <a:cubicBezTo>
                    <a:pt x="23" y="3"/>
                    <a:pt x="23" y="3"/>
                    <a:pt x="23" y="3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37" y="0"/>
                    <a:pt x="66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67" y="23"/>
                    <a:pt x="62" y="23"/>
                  </a:cubicBezTo>
                  <a:cubicBezTo>
                    <a:pt x="40" y="23"/>
                    <a:pt x="23" y="40"/>
                    <a:pt x="23" y="64"/>
                  </a:cubicBezTo>
                  <a:cubicBezTo>
                    <a:pt x="23" y="134"/>
                    <a:pt x="23" y="134"/>
                    <a:pt x="23" y="134"/>
                  </a:cubicBezTo>
                  <a:cubicBezTo>
                    <a:pt x="0" y="134"/>
                    <a:pt x="0" y="134"/>
                    <a:pt x="0" y="134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593138" y="3844926"/>
              <a:ext cx="146050" cy="166688"/>
            </a:xfrm>
            <a:custGeom>
              <a:avLst/>
              <a:gdLst>
                <a:gd name="T0" fmla="*/ 0 w 118"/>
                <a:gd name="T1" fmla="*/ 0 h 134"/>
                <a:gd name="T2" fmla="*/ 23 w 118"/>
                <a:gd name="T3" fmla="*/ 0 h 134"/>
                <a:gd name="T4" fmla="*/ 23 w 118"/>
                <a:gd name="T5" fmla="*/ 76 h 134"/>
                <a:gd name="T6" fmla="*/ 56 w 118"/>
                <a:gd name="T7" fmla="*/ 112 h 134"/>
                <a:gd name="T8" fmla="*/ 94 w 118"/>
                <a:gd name="T9" fmla="*/ 71 h 134"/>
                <a:gd name="T10" fmla="*/ 94 w 118"/>
                <a:gd name="T11" fmla="*/ 0 h 134"/>
                <a:gd name="T12" fmla="*/ 118 w 118"/>
                <a:gd name="T13" fmla="*/ 0 h 134"/>
                <a:gd name="T14" fmla="*/ 118 w 118"/>
                <a:gd name="T15" fmla="*/ 131 h 134"/>
                <a:gd name="T16" fmla="*/ 94 w 118"/>
                <a:gd name="T17" fmla="*/ 131 h 134"/>
                <a:gd name="T18" fmla="*/ 94 w 118"/>
                <a:gd name="T19" fmla="*/ 112 h 134"/>
                <a:gd name="T20" fmla="*/ 53 w 118"/>
                <a:gd name="T21" fmla="*/ 134 h 134"/>
                <a:gd name="T22" fmla="*/ 0 w 118"/>
                <a:gd name="T23" fmla="*/ 76 h 134"/>
                <a:gd name="T24" fmla="*/ 0 w 118"/>
                <a:gd name="T2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134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98"/>
                    <a:pt x="37" y="112"/>
                    <a:pt x="56" y="112"/>
                  </a:cubicBezTo>
                  <a:cubicBezTo>
                    <a:pt x="78" y="112"/>
                    <a:pt x="94" y="96"/>
                    <a:pt x="94" y="71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31"/>
                    <a:pt x="118" y="131"/>
                    <a:pt x="118" y="131"/>
                  </a:cubicBezTo>
                  <a:cubicBezTo>
                    <a:pt x="94" y="131"/>
                    <a:pt x="94" y="131"/>
                    <a:pt x="94" y="131"/>
                  </a:cubicBezTo>
                  <a:cubicBezTo>
                    <a:pt x="94" y="112"/>
                    <a:pt x="94" y="112"/>
                    <a:pt x="94" y="112"/>
                  </a:cubicBezTo>
                  <a:cubicBezTo>
                    <a:pt x="94" y="112"/>
                    <a:pt x="81" y="134"/>
                    <a:pt x="53" y="134"/>
                  </a:cubicBezTo>
                  <a:cubicBezTo>
                    <a:pt x="22" y="134"/>
                    <a:pt x="0" y="112"/>
                    <a:pt x="0" y="76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794751" y="3841751"/>
              <a:ext cx="146050" cy="166688"/>
            </a:xfrm>
            <a:custGeom>
              <a:avLst/>
              <a:gdLst>
                <a:gd name="T0" fmla="*/ 0 w 118"/>
                <a:gd name="T1" fmla="*/ 3 h 134"/>
                <a:gd name="T2" fmla="*/ 23 w 118"/>
                <a:gd name="T3" fmla="*/ 3 h 134"/>
                <a:gd name="T4" fmla="*/ 23 w 118"/>
                <a:gd name="T5" fmla="*/ 22 h 134"/>
                <a:gd name="T6" fmla="*/ 65 w 118"/>
                <a:gd name="T7" fmla="*/ 0 h 134"/>
                <a:gd name="T8" fmla="*/ 118 w 118"/>
                <a:gd name="T9" fmla="*/ 57 h 134"/>
                <a:gd name="T10" fmla="*/ 118 w 118"/>
                <a:gd name="T11" fmla="*/ 134 h 134"/>
                <a:gd name="T12" fmla="*/ 95 w 118"/>
                <a:gd name="T13" fmla="*/ 134 h 134"/>
                <a:gd name="T14" fmla="*/ 95 w 118"/>
                <a:gd name="T15" fmla="*/ 57 h 134"/>
                <a:gd name="T16" fmla="*/ 62 w 118"/>
                <a:gd name="T17" fmla="*/ 22 h 134"/>
                <a:gd name="T18" fmla="*/ 23 w 118"/>
                <a:gd name="T19" fmla="*/ 63 h 134"/>
                <a:gd name="T20" fmla="*/ 23 w 118"/>
                <a:gd name="T21" fmla="*/ 134 h 134"/>
                <a:gd name="T22" fmla="*/ 0 w 118"/>
                <a:gd name="T23" fmla="*/ 134 h 134"/>
                <a:gd name="T24" fmla="*/ 0 w 118"/>
                <a:gd name="T25" fmla="*/ 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134">
                  <a:moveTo>
                    <a:pt x="0" y="3"/>
                  </a:moveTo>
                  <a:cubicBezTo>
                    <a:pt x="23" y="3"/>
                    <a:pt x="23" y="3"/>
                    <a:pt x="23" y="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37" y="0"/>
                    <a:pt x="65" y="0"/>
                  </a:cubicBezTo>
                  <a:cubicBezTo>
                    <a:pt x="96" y="0"/>
                    <a:pt x="118" y="22"/>
                    <a:pt x="118" y="57"/>
                  </a:cubicBezTo>
                  <a:cubicBezTo>
                    <a:pt x="118" y="134"/>
                    <a:pt x="118" y="134"/>
                    <a:pt x="118" y="134"/>
                  </a:cubicBezTo>
                  <a:cubicBezTo>
                    <a:pt x="95" y="134"/>
                    <a:pt x="95" y="134"/>
                    <a:pt x="95" y="134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35"/>
                    <a:pt x="81" y="22"/>
                    <a:pt x="62" y="22"/>
                  </a:cubicBezTo>
                  <a:cubicBezTo>
                    <a:pt x="40" y="22"/>
                    <a:pt x="23" y="38"/>
                    <a:pt x="23" y="63"/>
                  </a:cubicBezTo>
                  <a:cubicBezTo>
                    <a:pt x="23" y="134"/>
                    <a:pt x="23" y="134"/>
                    <a:pt x="23" y="134"/>
                  </a:cubicBezTo>
                  <a:cubicBezTo>
                    <a:pt x="0" y="134"/>
                    <a:pt x="0" y="134"/>
                    <a:pt x="0" y="134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8985251" y="3841751"/>
              <a:ext cx="155575" cy="238125"/>
            </a:xfrm>
            <a:custGeom>
              <a:avLst/>
              <a:gdLst>
                <a:gd name="T0" fmla="*/ 19 w 126"/>
                <a:gd name="T1" fmla="*/ 149 h 192"/>
                <a:gd name="T2" fmla="*/ 61 w 126"/>
                <a:gd name="T3" fmla="*/ 170 h 192"/>
                <a:gd name="T4" fmla="*/ 103 w 126"/>
                <a:gd name="T5" fmla="*/ 125 h 192"/>
                <a:gd name="T6" fmla="*/ 103 w 126"/>
                <a:gd name="T7" fmla="*/ 111 h 192"/>
                <a:gd name="T8" fmla="*/ 61 w 126"/>
                <a:gd name="T9" fmla="*/ 131 h 192"/>
                <a:gd name="T10" fmla="*/ 0 w 126"/>
                <a:gd name="T11" fmla="*/ 66 h 192"/>
                <a:gd name="T12" fmla="*/ 61 w 126"/>
                <a:gd name="T13" fmla="*/ 0 h 192"/>
                <a:gd name="T14" fmla="*/ 103 w 126"/>
                <a:gd name="T15" fmla="*/ 20 h 192"/>
                <a:gd name="T16" fmla="*/ 103 w 126"/>
                <a:gd name="T17" fmla="*/ 3 h 192"/>
                <a:gd name="T18" fmla="*/ 126 w 126"/>
                <a:gd name="T19" fmla="*/ 3 h 192"/>
                <a:gd name="T20" fmla="*/ 126 w 126"/>
                <a:gd name="T21" fmla="*/ 125 h 192"/>
                <a:gd name="T22" fmla="*/ 61 w 126"/>
                <a:gd name="T23" fmla="*/ 192 h 192"/>
                <a:gd name="T24" fmla="*/ 4 w 126"/>
                <a:gd name="T25" fmla="*/ 164 h 192"/>
                <a:gd name="T26" fmla="*/ 19 w 126"/>
                <a:gd name="T27" fmla="*/ 149 h 192"/>
                <a:gd name="T28" fmla="*/ 103 w 126"/>
                <a:gd name="T29" fmla="*/ 66 h 192"/>
                <a:gd name="T30" fmla="*/ 63 w 126"/>
                <a:gd name="T31" fmla="*/ 22 h 192"/>
                <a:gd name="T32" fmla="*/ 24 w 126"/>
                <a:gd name="T33" fmla="*/ 66 h 192"/>
                <a:gd name="T34" fmla="*/ 63 w 126"/>
                <a:gd name="T35" fmla="*/ 109 h 192"/>
                <a:gd name="T36" fmla="*/ 103 w 126"/>
                <a:gd name="T37" fmla="*/ 6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6" h="192">
                  <a:moveTo>
                    <a:pt x="19" y="149"/>
                  </a:moveTo>
                  <a:cubicBezTo>
                    <a:pt x="19" y="149"/>
                    <a:pt x="35" y="170"/>
                    <a:pt x="61" y="170"/>
                  </a:cubicBezTo>
                  <a:cubicBezTo>
                    <a:pt x="85" y="170"/>
                    <a:pt x="103" y="152"/>
                    <a:pt x="103" y="125"/>
                  </a:cubicBezTo>
                  <a:cubicBezTo>
                    <a:pt x="103" y="111"/>
                    <a:pt x="103" y="111"/>
                    <a:pt x="103" y="111"/>
                  </a:cubicBezTo>
                  <a:cubicBezTo>
                    <a:pt x="103" y="111"/>
                    <a:pt x="91" y="131"/>
                    <a:pt x="61" y="131"/>
                  </a:cubicBezTo>
                  <a:cubicBezTo>
                    <a:pt x="28" y="131"/>
                    <a:pt x="0" y="104"/>
                    <a:pt x="0" y="66"/>
                  </a:cubicBezTo>
                  <a:cubicBezTo>
                    <a:pt x="0" y="27"/>
                    <a:pt x="28" y="0"/>
                    <a:pt x="61" y="0"/>
                  </a:cubicBezTo>
                  <a:cubicBezTo>
                    <a:pt x="91" y="0"/>
                    <a:pt x="103" y="20"/>
                    <a:pt x="103" y="20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26" y="3"/>
                    <a:pt x="126" y="3"/>
                    <a:pt x="126" y="3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126" y="163"/>
                    <a:pt x="98" y="192"/>
                    <a:pt x="61" y="192"/>
                  </a:cubicBezTo>
                  <a:cubicBezTo>
                    <a:pt x="24" y="192"/>
                    <a:pt x="4" y="164"/>
                    <a:pt x="4" y="164"/>
                  </a:cubicBezTo>
                  <a:lnTo>
                    <a:pt x="19" y="149"/>
                  </a:lnTo>
                  <a:close/>
                  <a:moveTo>
                    <a:pt x="103" y="66"/>
                  </a:moveTo>
                  <a:cubicBezTo>
                    <a:pt x="103" y="40"/>
                    <a:pt x="88" y="22"/>
                    <a:pt x="63" y="22"/>
                  </a:cubicBezTo>
                  <a:cubicBezTo>
                    <a:pt x="41" y="22"/>
                    <a:pt x="24" y="40"/>
                    <a:pt x="24" y="66"/>
                  </a:cubicBezTo>
                  <a:cubicBezTo>
                    <a:pt x="24" y="92"/>
                    <a:pt x="41" y="109"/>
                    <a:pt x="63" y="109"/>
                  </a:cubicBezTo>
                  <a:cubicBezTo>
                    <a:pt x="86" y="109"/>
                    <a:pt x="103" y="91"/>
                    <a:pt x="103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3051176" y="2774951"/>
              <a:ext cx="660400" cy="661988"/>
            </a:xfrm>
            <a:custGeom>
              <a:avLst/>
              <a:gdLst>
                <a:gd name="T0" fmla="*/ 266 w 532"/>
                <a:gd name="T1" fmla="*/ 531 h 531"/>
                <a:gd name="T2" fmla="*/ 0 w 532"/>
                <a:gd name="T3" fmla="*/ 266 h 531"/>
                <a:gd name="T4" fmla="*/ 266 w 532"/>
                <a:gd name="T5" fmla="*/ 0 h 531"/>
                <a:gd name="T6" fmla="*/ 532 w 532"/>
                <a:gd name="T7" fmla="*/ 266 h 531"/>
                <a:gd name="T8" fmla="*/ 266 w 532"/>
                <a:gd name="T9" fmla="*/ 531 h 531"/>
                <a:gd name="T10" fmla="*/ 266 w 532"/>
                <a:gd name="T11" fmla="*/ 50 h 531"/>
                <a:gd name="T12" fmla="*/ 51 w 532"/>
                <a:gd name="T13" fmla="*/ 266 h 531"/>
                <a:gd name="T14" fmla="*/ 266 w 532"/>
                <a:gd name="T15" fmla="*/ 481 h 531"/>
                <a:gd name="T16" fmla="*/ 481 w 532"/>
                <a:gd name="T17" fmla="*/ 266 h 531"/>
                <a:gd name="T18" fmla="*/ 266 w 532"/>
                <a:gd name="T19" fmla="*/ 5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2" h="531">
                  <a:moveTo>
                    <a:pt x="266" y="531"/>
                  </a:moveTo>
                  <a:cubicBezTo>
                    <a:pt x="119" y="531"/>
                    <a:pt x="0" y="412"/>
                    <a:pt x="0" y="266"/>
                  </a:cubicBezTo>
                  <a:cubicBezTo>
                    <a:pt x="0" y="119"/>
                    <a:pt x="119" y="0"/>
                    <a:pt x="266" y="0"/>
                  </a:cubicBezTo>
                  <a:cubicBezTo>
                    <a:pt x="412" y="0"/>
                    <a:pt x="532" y="119"/>
                    <a:pt x="532" y="266"/>
                  </a:cubicBezTo>
                  <a:cubicBezTo>
                    <a:pt x="532" y="412"/>
                    <a:pt x="412" y="531"/>
                    <a:pt x="266" y="531"/>
                  </a:cubicBezTo>
                  <a:close/>
                  <a:moveTo>
                    <a:pt x="266" y="50"/>
                  </a:moveTo>
                  <a:cubicBezTo>
                    <a:pt x="147" y="50"/>
                    <a:pt x="51" y="147"/>
                    <a:pt x="51" y="266"/>
                  </a:cubicBezTo>
                  <a:cubicBezTo>
                    <a:pt x="51" y="384"/>
                    <a:pt x="147" y="481"/>
                    <a:pt x="266" y="481"/>
                  </a:cubicBezTo>
                  <a:cubicBezTo>
                    <a:pt x="384" y="481"/>
                    <a:pt x="481" y="384"/>
                    <a:pt x="481" y="266"/>
                  </a:cubicBezTo>
                  <a:cubicBezTo>
                    <a:pt x="481" y="147"/>
                    <a:pt x="384" y="50"/>
                    <a:pt x="26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39353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-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sp>
        <p:nvSpPr>
          <p:cNvPr id="13" name="Freihandform 12"/>
          <p:cNvSpPr/>
          <p:nvPr userDrawn="1"/>
        </p:nvSpPr>
        <p:spPr>
          <a:xfrm>
            <a:off x="-1" y="0"/>
            <a:ext cx="9791701" cy="6858000"/>
          </a:xfrm>
          <a:custGeom>
            <a:avLst/>
            <a:gdLst>
              <a:gd name="connsiteX0" fmla="*/ 815445 w 9791701"/>
              <a:gd name="connsiteY0" fmla="*/ 0 h 6858000"/>
              <a:gd name="connsiteX1" fmla="*/ 8480957 w 9791701"/>
              <a:gd name="connsiteY1" fmla="*/ 0 h 6858000"/>
              <a:gd name="connsiteX2" fmla="*/ 8617176 w 9791701"/>
              <a:gd name="connsiteY2" fmla="*/ 157256 h 6858000"/>
              <a:gd name="connsiteX3" fmla="*/ 9791701 w 9791701"/>
              <a:gd name="connsiteY3" fmla="*/ 3429000 h 6858000"/>
              <a:gd name="connsiteX4" fmla="*/ 8617176 w 9791701"/>
              <a:gd name="connsiteY4" fmla="*/ 6700744 h 6858000"/>
              <a:gd name="connsiteX5" fmla="*/ 8480957 w 9791701"/>
              <a:gd name="connsiteY5" fmla="*/ 6858000 h 6858000"/>
              <a:gd name="connsiteX6" fmla="*/ 815445 w 9791701"/>
              <a:gd name="connsiteY6" fmla="*/ 6858000 h 6858000"/>
              <a:gd name="connsiteX7" fmla="*/ 679226 w 9791701"/>
              <a:gd name="connsiteY7" fmla="*/ 6700744 h 6858000"/>
              <a:gd name="connsiteX8" fmla="*/ 11906 w 9791701"/>
              <a:gd name="connsiteY8" fmla="*/ 5658920 h 6858000"/>
              <a:gd name="connsiteX9" fmla="*/ 0 w 9791701"/>
              <a:gd name="connsiteY9" fmla="*/ 5632585 h 6858000"/>
              <a:gd name="connsiteX10" fmla="*/ 0 w 9791701"/>
              <a:gd name="connsiteY10" fmla="*/ 1225415 h 6858000"/>
              <a:gd name="connsiteX11" fmla="*/ 11906 w 9791701"/>
              <a:gd name="connsiteY11" fmla="*/ 1199080 h 6858000"/>
              <a:gd name="connsiteX12" fmla="*/ 679226 w 9791701"/>
              <a:gd name="connsiteY12" fmla="*/ 15725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91701" h="6858000">
                <a:moveTo>
                  <a:pt x="815445" y="0"/>
                </a:moveTo>
                <a:lnTo>
                  <a:pt x="8480957" y="0"/>
                </a:lnTo>
                <a:lnTo>
                  <a:pt x="8617176" y="157256"/>
                </a:lnTo>
                <a:cubicBezTo>
                  <a:pt x="9350926" y="1046356"/>
                  <a:pt x="9791701" y="2186204"/>
                  <a:pt x="9791701" y="3429000"/>
                </a:cubicBezTo>
                <a:cubicBezTo>
                  <a:pt x="9791701" y="4671796"/>
                  <a:pt x="9350926" y="5811644"/>
                  <a:pt x="8617176" y="6700744"/>
                </a:cubicBezTo>
                <a:lnTo>
                  <a:pt x="8480957" y="6858000"/>
                </a:lnTo>
                <a:lnTo>
                  <a:pt x="815445" y="6858000"/>
                </a:lnTo>
                <a:lnTo>
                  <a:pt x="679226" y="6700744"/>
                </a:lnTo>
                <a:cubicBezTo>
                  <a:pt x="417173" y="6383208"/>
                  <a:pt x="192488" y="6033689"/>
                  <a:pt x="11906" y="5658920"/>
                </a:cubicBezTo>
                <a:lnTo>
                  <a:pt x="0" y="5632585"/>
                </a:lnTo>
                <a:lnTo>
                  <a:pt x="0" y="1225415"/>
                </a:lnTo>
                <a:lnTo>
                  <a:pt x="11906" y="1199080"/>
                </a:lnTo>
                <a:cubicBezTo>
                  <a:pt x="192488" y="824311"/>
                  <a:pt x="417173" y="474792"/>
                  <a:pt x="679226" y="157256"/>
                </a:cubicBezTo>
                <a:close/>
              </a:path>
            </a:pathLst>
          </a:custGeom>
          <a:solidFill>
            <a:schemeClr val="accent3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3724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el 1"/>
          <p:cNvSpPr>
            <a:spLocks noGrp="1"/>
          </p:cNvSpPr>
          <p:nvPr>
            <p:ph type="ctrTitle" hasCustomPrompt="1"/>
          </p:nvPr>
        </p:nvSpPr>
        <p:spPr>
          <a:xfrm>
            <a:off x="383118" y="2060761"/>
            <a:ext cx="9018058" cy="1511114"/>
          </a:xfrm>
        </p:spPr>
        <p:txBody>
          <a:bodyPr anchor="ctr" anchorCtr="0"/>
          <a:lstStyle>
            <a:lvl1pPr algn="l">
              <a:defRPr sz="5400" b="0" cap="none" baseline="0">
                <a:solidFill>
                  <a:schemeClr val="bg1"/>
                </a:solidFill>
                <a:latin typeface="TT Norms Pro" panose="02000503030000020003" pitchFamily="50" charset="0"/>
              </a:defRPr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3118" y="3754906"/>
            <a:ext cx="6882921" cy="912014"/>
          </a:xfrm>
        </p:spPr>
        <p:txBody>
          <a:bodyPr anchor="ctr">
            <a:normAutofit/>
          </a:bodyPr>
          <a:lstStyle>
            <a:lvl1pPr marL="0" indent="0" algn="l">
              <a:buNone/>
              <a:defRPr sz="3200" b="0">
                <a:solidFill>
                  <a:schemeClr val="bg1"/>
                </a:solidFill>
                <a:latin typeface="TT Norms Pro" panose="02000503030000020003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Untertitel</a:t>
            </a:r>
            <a:endParaRPr lang="de-DE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4773382"/>
            <a:ext cx="1928284" cy="242554"/>
          </a:xfrm>
        </p:spPr>
        <p:txBody>
          <a:bodyPr vert="horz" lIns="0" tIns="0" rIns="0" bIns="0" rtlCol="0" anchor="ctr"/>
          <a:lstStyle>
            <a:lvl1pPr marL="0" indent="0">
              <a:buNone/>
              <a:defRPr lang="de-DE" sz="1050" i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 smtClean="0"/>
              <a:t>Datum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115" y="1518814"/>
            <a:ext cx="3490289" cy="435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322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schl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538636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noProof="0" dirty="0" smtClean="0"/>
              <a:t>Titel durch Klicken hinzufügen</a:t>
            </a:r>
            <a:endParaRPr lang="de-DE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384001" y="1647825"/>
            <a:ext cx="11424884" cy="4660900"/>
          </a:xfrm>
        </p:spPr>
        <p:txBody>
          <a:bodyPr/>
          <a:lstStyle>
            <a:lvl1pPr marL="180975" marR="0" indent="-180975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 baseline="0"/>
            </a:lvl1pPr>
            <a:lvl2pPr marL="540000" marR="0" indent="-180000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2pPr>
            <a:lvl3pPr marL="900000" marR="0" indent="-180000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3pPr>
            <a:lvl4pPr marL="1260000" marR="0" indent="-1800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4pPr>
            <a:lvl5pPr marL="1620000" marR="0" indent="-1800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5pPr>
            <a:lvl6pPr marL="1980000" marR="0" indent="-1800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6pPr>
            <a:lvl7pPr marL="2340000" marR="0" indent="-1800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7pPr>
            <a:lvl8pPr marL="2700000" marR="0" indent="-1800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8pPr>
            <a:lvl9pPr marL="3600450" indent="0">
              <a:buNone/>
              <a:defRPr/>
            </a:lvl9pPr>
          </a:lstStyle>
          <a:p>
            <a:pPr marL="180975" marR="0" lvl="0" indent="-180975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T Norms Pro" panose="02000503030000020003" pitchFamily="50" charset="0"/>
                <a:ea typeface="+mn-ea"/>
                <a:cs typeface="+mn-cs"/>
              </a:rPr>
              <a:t>Erste Ebene</a:t>
            </a:r>
          </a:p>
          <a:p>
            <a:pPr marL="540000" marR="0" lvl="1" indent="-180000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T Norms Pro" panose="02000503030000020003" pitchFamily="50" charset="0"/>
                <a:ea typeface="+mn-ea"/>
                <a:cs typeface="+mn-cs"/>
              </a:rPr>
              <a:t>Zweite Ebene</a:t>
            </a:r>
          </a:p>
          <a:p>
            <a:pPr marL="900000" marR="0" lvl="2" indent="-180000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T Norms Pro" panose="02000503030000020003" pitchFamily="50" charset="0"/>
                <a:ea typeface="+mn-ea"/>
                <a:cs typeface="+mn-cs"/>
              </a:rPr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512658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581" y="245113"/>
            <a:ext cx="2843304" cy="354760"/>
          </a:xfrm>
          <a:prstGeom prst="rect">
            <a:avLst/>
          </a:prstGeom>
        </p:spPr>
      </p:pic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11248897" y="6464028"/>
            <a:ext cx="556268" cy="24761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457200" rtl="0" eaLnBrk="1" latinLnBrk="0" hangingPunct="1">
              <a:defRPr sz="1050" i="0" kern="1200">
                <a:solidFill>
                  <a:schemeClr val="tx1"/>
                </a:solidFill>
                <a:latin typeface="TT Norms Pro Normal" panose="02000503030000020003" pitchFamily="50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FF98F-BF98-654A-B0D9-855B0DB8C86F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T Norms Pro Normal" panose="02000503030000020003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T Norms Pro Normal" panose="02000503030000020003" pitchFamily="50" charset="0"/>
              <a:ea typeface="+mn-ea"/>
              <a:cs typeface="+mn-cs"/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590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Titel durch Klicken hinzufügen</a:t>
            </a:r>
            <a:endParaRPr lang="de-DE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384001" y="1647825"/>
            <a:ext cx="11424884" cy="4660900"/>
          </a:xfrm>
        </p:spPr>
        <p:txBody>
          <a:bodyPr/>
          <a:lstStyle>
            <a:lvl1pPr marL="180975" marR="0" indent="-180975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chemeClr val="bg1"/>
              </a:buClr>
              <a:buSzPct val="120000"/>
              <a:buFont typeface="TT Norms Pro" panose="02000503030000020003" pitchFamily="50" charset="0"/>
              <a:buChar char="•"/>
              <a:tabLst/>
              <a:defRPr baseline="0">
                <a:solidFill>
                  <a:schemeClr val="bg1"/>
                </a:solidFill>
              </a:defRPr>
            </a:lvl1pPr>
            <a:lvl2pPr marL="540000" marR="0" indent="-180000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chemeClr val="bg1"/>
              </a:buClr>
              <a:buSzPct val="120000"/>
              <a:buFont typeface="TT Norms Pro" panose="02000503030000020003" pitchFamily="50" charset="0"/>
              <a:buChar char="•"/>
              <a:tabLst/>
              <a:defRPr>
                <a:solidFill>
                  <a:schemeClr val="bg1"/>
                </a:solidFill>
              </a:defRPr>
            </a:lvl2pPr>
            <a:lvl3pPr marL="900000" marR="0" indent="-180000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chemeClr val="bg1"/>
              </a:buClr>
              <a:buSzPct val="120000"/>
              <a:buFont typeface="TT Norms Pro" panose="02000503030000020003" pitchFamily="50" charset="0"/>
              <a:buChar char="•"/>
              <a:tabLst/>
              <a:defRPr>
                <a:solidFill>
                  <a:schemeClr val="bg1"/>
                </a:solidFill>
              </a:defRPr>
            </a:lvl3pPr>
            <a:lvl4pPr marL="1260000" marR="0" indent="-1800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4pPr>
            <a:lvl5pPr marL="1620000" marR="0" indent="-1800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5pPr>
            <a:lvl6pPr marL="1980000" marR="0" indent="-1800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6pPr>
            <a:lvl7pPr marL="2340000" marR="0" indent="-1800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7pPr>
            <a:lvl8pPr marL="2700000" marR="0" indent="-18000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lvl8pPr>
            <a:lvl9pPr marL="3600450" indent="0">
              <a:buNone/>
              <a:defRPr/>
            </a:lvl9pPr>
          </a:lstStyle>
          <a:p>
            <a:pPr marL="180975" marR="0" lvl="0" indent="-180975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T Norms Pro" panose="02000503030000020003" pitchFamily="50" charset="0"/>
                <a:ea typeface="+mn-ea"/>
                <a:cs typeface="+mn-cs"/>
              </a:rPr>
              <a:t>Erste Ebene</a:t>
            </a:r>
          </a:p>
          <a:p>
            <a:pPr marL="540000" marR="0" lvl="1" indent="-180000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T Norms Pro" panose="02000503030000020003" pitchFamily="50" charset="0"/>
                <a:ea typeface="+mn-ea"/>
                <a:cs typeface="+mn-cs"/>
              </a:rPr>
              <a:t>Zweite Ebene</a:t>
            </a:r>
          </a:p>
          <a:p>
            <a:pPr marL="900000" marR="0" lvl="2" indent="-180000" algn="l" defTabSz="457200" rtl="0" eaLnBrk="1" fontAlgn="auto" latinLnBrk="0" hangingPunct="1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Clr>
                <a:srgbClr val="579EB0"/>
              </a:buClr>
              <a:buSzPct val="120000"/>
              <a:buFont typeface="TT Norms Pro" panose="02000503030000020003" pitchFamily="50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T Norms Pro" panose="02000503030000020003" pitchFamily="50" charset="0"/>
                <a:ea typeface="+mn-ea"/>
                <a:cs typeface="+mn-cs"/>
              </a:rPr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664627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383117" y="1647825"/>
            <a:ext cx="5520000" cy="4660900"/>
          </a:xfrm>
        </p:spPr>
        <p:txBody>
          <a:bodyPr/>
          <a:lstStyle>
            <a:lvl1pPr marL="180975" indent="-180975">
              <a:buClr>
                <a:schemeClr val="accent1"/>
              </a:buClr>
              <a:buFont typeface="TT Norms Pro" panose="02000503030000020003" pitchFamily="50" charset="0"/>
              <a:buChar char="•"/>
              <a:defRPr/>
            </a:lvl1pPr>
            <a:lvl2pPr marL="447675" indent="-176213">
              <a:buClr>
                <a:schemeClr val="accent1"/>
              </a:buClr>
              <a:buSzPct val="120000"/>
              <a:buFont typeface="TT Norms Pro" panose="02000503030000020003" pitchFamily="50" charset="0"/>
              <a:buChar char="•"/>
              <a:defRPr/>
            </a:lvl2pPr>
            <a:lvl3pPr>
              <a:buClr>
                <a:schemeClr val="accent1"/>
              </a:buClr>
              <a:buSzPct val="120000"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noProof="0" dirty="0" smtClean="0"/>
              <a:t>Text durch Klicken hinzufügen</a:t>
            </a:r>
          </a:p>
          <a:p>
            <a:pPr lvl="1"/>
            <a:r>
              <a:rPr lang="de-DE" noProof="0" dirty="0" smtClean="0"/>
              <a:t>Seco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Third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6288883" y="1647825"/>
            <a:ext cx="5520000" cy="4660900"/>
          </a:xfrm>
        </p:spPr>
        <p:txBody>
          <a:bodyPr/>
          <a:lstStyle>
            <a:lvl1pPr>
              <a:buClr>
                <a:schemeClr val="accent1"/>
              </a:buClr>
              <a:defRPr baseline="0"/>
            </a:lvl1pPr>
            <a:lvl2pPr marL="447675" indent="-176213">
              <a:buClr>
                <a:schemeClr val="accent1"/>
              </a:buClr>
              <a:buSzPct val="120000"/>
              <a:buFont typeface="TT Norms Pro" panose="02000503030000020003" pitchFamily="50" charset="0"/>
              <a:buChar char="•"/>
              <a:defRPr/>
            </a:lvl2pPr>
            <a:lvl3pPr>
              <a:buClr>
                <a:schemeClr val="accent1"/>
              </a:buClr>
              <a:buSzPct val="120000"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noProof="0" dirty="0" smtClean="0"/>
              <a:t>Text durch Klicken hinzufügen</a:t>
            </a:r>
          </a:p>
          <a:p>
            <a:pPr lvl="1"/>
            <a:r>
              <a:rPr lang="de-DE" noProof="0" dirty="0" smtClean="0"/>
              <a:t>Seco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Third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 durch Klicken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9034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83117" y="2006600"/>
            <a:ext cx="5520000" cy="430212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600"/>
            </a:lvl1pPr>
            <a:lvl2pPr marL="447675" indent="-176213">
              <a:buClr>
                <a:schemeClr val="accent1"/>
              </a:buClr>
              <a:buSzPct val="120000"/>
              <a:buFont typeface="TT Norms Pro" panose="02000503030000020003" pitchFamily="50" charset="0"/>
              <a:buChar char="•"/>
              <a:defRPr sz="1600"/>
            </a:lvl2pPr>
            <a:lvl3pPr>
              <a:buClr>
                <a:schemeClr val="accent1"/>
              </a:buClr>
              <a:buSzPct val="120000"/>
              <a:defRPr sz="1600"/>
            </a:lvl3pPr>
          </a:lstStyle>
          <a:p>
            <a:pPr lvl="0"/>
            <a:r>
              <a:rPr lang="de-DE" noProof="0" dirty="0" smtClean="0"/>
              <a:t>Text durch Klicken hinzufügen</a:t>
            </a:r>
          </a:p>
          <a:p>
            <a:pPr lvl="1"/>
            <a:r>
              <a:rPr lang="de-DE" noProof="0" dirty="0" smtClean="0"/>
              <a:t>Seco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Third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sp>
        <p:nvSpPr>
          <p:cNvPr id="12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288883" y="2000455"/>
            <a:ext cx="5520000" cy="4302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447675" indent="-176213">
              <a:buClr>
                <a:schemeClr val="accent1"/>
              </a:buClr>
              <a:buSzPct val="120000"/>
              <a:buFont typeface="TT Norms Pro" panose="02000503030000020003" pitchFamily="50" charset="0"/>
              <a:buChar char="•"/>
              <a:defRPr/>
            </a:lvl2pPr>
            <a:lvl3pPr>
              <a:buClr>
                <a:schemeClr val="accent1"/>
              </a:buClr>
              <a:buSzPct val="120000"/>
              <a:defRPr/>
            </a:lvl3pPr>
          </a:lstStyle>
          <a:p>
            <a:pPr lvl="0"/>
            <a:r>
              <a:rPr lang="de-DE" noProof="0" dirty="0" smtClean="0"/>
              <a:t>Text durch Klicken hinzufügen</a:t>
            </a:r>
          </a:p>
          <a:p>
            <a:pPr lvl="1"/>
            <a:r>
              <a:rPr lang="de-DE" noProof="0" dirty="0" smtClean="0"/>
              <a:t>Seco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Third </a:t>
            </a:r>
            <a:r>
              <a:rPr lang="de-DE" noProof="0" dirty="0" err="1" smtClean="0"/>
              <a:t>level</a:t>
            </a:r>
            <a:endParaRPr lang="de-DE" noProof="0" dirty="0" smtClean="0"/>
          </a:p>
        </p:txBody>
      </p:sp>
      <p:cxnSp>
        <p:nvCxnSpPr>
          <p:cNvPr id="10" name="Gerade Verbindung 5"/>
          <p:cNvCxnSpPr/>
          <p:nvPr userDrawn="1"/>
        </p:nvCxnSpPr>
        <p:spPr>
          <a:xfrm>
            <a:off x="383117" y="1895757"/>
            <a:ext cx="5520000" cy="0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/>
          <p:cNvCxnSpPr/>
          <p:nvPr userDrawn="1"/>
        </p:nvCxnSpPr>
        <p:spPr>
          <a:xfrm>
            <a:off x="6288883" y="1895757"/>
            <a:ext cx="5520000" cy="0"/>
          </a:xfrm>
          <a:prstGeom prst="line">
            <a:avLst/>
          </a:prstGeom>
          <a:ln w="6350">
            <a:solidFill>
              <a:srgbClr val="B2B2B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Titel durch Klicken hinzufügen</a:t>
            </a:r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83116" y="1543051"/>
            <a:ext cx="5520000" cy="333656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Textmasterformat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88883" y="1543053"/>
            <a:ext cx="5520000" cy="333655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Textmasterforma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0636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7012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Titel durch Klicken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51304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-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864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 dirty="0" smtClean="0">
              <a:solidFill>
                <a:srgbClr val="777777"/>
              </a:solidFill>
              <a:latin typeface="Verdana" panose="020B060403050404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581" y="245113"/>
            <a:ext cx="2843304" cy="354760"/>
          </a:xfrm>
          <a:prstGeom prst="rect">
            <a:avLst/>
          </a:prstGeom>
        </p:spPr>
      </p:pic>
      <p:sp>
        <p:nvSpPr>
          <p:cNvPr id="4" name="Slide Number Placeholder 1"/>
          <p:cNvSpPr txBox="1">
            <a:spLocks/>
          </p:cNvSpPr>
          <p:nvPr userDrawn="1"/>
        </p:nvSpPr>
        <p:spPr>
          <a:xfrm>
            <a:off x="11248897" y="6464028"/>
            <a:ext cx="556268" cy="24761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457200" rtl="0" eaLnBrk="1" latinLnBrk="0" hangingPunct="1">
              <a:defRPr sz="1050" i="0" kern="1200">
                <a:solidFill>
                  <a:schemeClr val="tx1"/>
                </a:solidFill>
                <a:latin typeface="TT Norms Pro Normal" panose="02000503030000020003" pitchFamily="50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FF98F-BF98-654A-B0D9-855B0DB8C86F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T Norms Pro Normal" panose="02000503030000020003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T Norms Pro Normal" panose="02000503030000020003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74452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213929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Folie" r:id="rId22" imgW="270" imgH="270" progId="TCLayout.ActiveDocument.1">
                  <p:embed/>
                </p:oleObj>
              </mc:Choice>
              <mc:Fallback>
                <p:oleObj name="think-cell Folie" r:id="rId22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3117" y="828674"/>
            <a:ext cx="11425767" cy="43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3117" y="1557339"/>
            <a:ext cx="11425767" cy="47563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</p:txBody>
      </p:sp>
      <p:sp>
        <p:nvSpPr>
          <p:cNvPr id="4" name="empower - DO NOT DELETE!!!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gradFill>
            <a:gsLst>
              <a:gs pos="3700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cap="all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3526" y="241277"/>
            <a:ext cx="2845358" cy="355017"/>
          </a:xfrm>
          <a:prstGeom prst="rect">
            <a:avLst/>
          </a:prstGeom>
        </p:spPr>
      </p:pic>
      <p:sp>
        <p:nvSpPr>
          <p:cNvPr id="15" name="Slide Number Placeholder 1"/>
          <p:cNvSpPr txBox="1">
            <a:spLocks/>
          </p:cNvSpPr>
          <p:nvPr userDrawn="1"/>
        </p:nvSpPr>
        <p:spPr>
          <a:xfrm>
            <a:off x="11248897" y="6464028"/>
            <a:ext cx="556268" cy="24761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457200" rtl="0" eaLnBrk="1" latinLnBrk="0" hangingPunct="1">
              <a:defRPr sz="1050" i="0" kern="1200">
                <a:solidFill>
                  <a:schemeClr val="tx1"/>
                </a:solidFill>
                <a:latin typeface="TT Norms Pro Normal" panose="02000503030000020003" pitchFamily="50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DFF98F-BF98-654A-B0D9-855B0DB8C86F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T Norms Pro Normal" panose="02000503030000020003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T Norms Pro Normal" panose="02000503030000020003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4298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664" r:id="rId3"/>
    <p:sldLayoutId id="2147483679" r:id="rId4"/>
    <p:sldLayoutId id="2147483665" r:id="rId5"/>
    <p:sldLayoutId id="2147483666" r:id="rId6"/>
    <p:sldLayoutId id="2147483667" r:id="rId7"/>
    <p:sldLayoutId id="2147483668" r:id="rId8"/>
    <p:sldLayoutId id="2147483677" r:id="rId9"/>
    <p:sldLayoutId id="2147483678" r:id="rId10"/>
    <p:sldLayoutId id="2147483680" r:id="rId11"/>
    <p:sldLayoutId id="2147483670" r:id="rId12"/>
    <p:sldLayoutId id="2147483671" r:id="rId13"/>
    <p:sldLayoutId id="2147483673" r:id="rId14"/>
    <p:sldLayoutId id="2147483674" r:id="rId15"/>
    <p:sldLayoutId id="2147483675" r:id="rId16"/>
    <p:sldLayoutId id="2147483676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0" i="0" kern="1200" cap="none" baseline="0">
          <a:solidFill>
            <a:schemeClr val="tx1"/>
          </a:solidFill>
          <a:latin typeface="TT Norms Pro" panose="02000503030000020003" pitchFamily="50" charset="0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lnSpc>
          <a:spcPct val="114000"/>
        </a:lnSpc>
        <a:spcBef>
          <a:spcPct val="20000"/>
        </a:spcBef>
        <a:spcAft>
          <a:spcPts val="600"/>
        </a:spcAft>
        <a:buClr>
          <a:schemeClr val="accent1"/>
        </a:buClr>
        <a:buSzPct val="120000"/>
        <a:buFont typeface="TT Norms Pro" panose="02000503030000020003" pitchFamily="50" charset="0"/>
        <a:buChar char="•"/>
        <a:defRPr sz="1600" b="0" kern="1200">
          <a:solidFill>
            <a:schemeClr val="tx1"/>
          </a:solidFill>
          <a:latin typeface="TT Norms Pro" panose="02000503030000020003" pitchFamily="50" charset="0"/>
          <a:ea typeface="+mn-ea"/>
          <a:cs typeface="+mn-cs"/>
        </a:defRPr>
      </a:lvl1pPr>
      <a:lvl2pPr marL="540000" indent="-180000" algn="l" defTabSz="457200" rtl="0" eaLnBrk="1" latinLnBrk="0" hangingPunct="1">
        <a:lnSpc>
          <a:spcPct val="114000"/>
        </a:lnSpc>
        <a:spcBef>
          <a:spcPct val="20000"/>
        </a:spcBef>
        <a:spcAft>
          <a:spcPts val="600"/>
        </a:spcAft>
        <a:buClr>
          <a:schemeClr val="accent1"/>
        </a:buClr>
        <a:buSzPct val="120000"/>
        <a:buFont typeface="TT Norms Pro" panose="02000503030000020003" pitchFamily="50" charset="0"/>
        <a:buChar char="•"/>
        <a:defRPr sz="1600" b="0" kern="1200">
          <a:solidFill>
            <a:schemeClr val="tx1"/>
          </a:solidFill>
          <a:latin typeface="TT Norms Pro" panose="02000503030000020003" pitchFamily="50" charset="0"/>
          <a:ea typeface="+mn-ea"/>
          <a:cs typeface="+mn-cs"/>
        </a:defRPr>
      </a:lvl2pPr>
      <a:lvl3pPr marL="900000" indent="-180000" algn="l" defTabSz="457200" rtl="0" eaLnBrk="1" latinLnBrk="0" hangingPunct="1">
        <a:lnSpc>
          <a:spcPct val="114000"/>
        </a:lnSpc>
        <a:spcBef>
          <a:spcPct val="20000"/>
        </a:spcBef>
        <a:spcAft>
          <a:spcPts val="600"/>
        </a:spcAft>
        <a:buClr>
          <a:schemeClr val="accent1"/>
        </a:buClr>
        <a:buSzPct val="120000"/>
        <a:buFont typeface="TT Norms Pro" panose="02000503030000020003" pitchFamily="50" charset="0"/>
        <a:buChar char="•"/>
        <a:defRPr sz="1600" b="0" kern="1200">
          <a:solidFill>
            <a:schemeClr val="tx1"/>
          </a:solidFill>
          <a:latin typeface="TT Norms Pro" panose="02000503030000020003" pitchFamily="50" charset="0"/>
          <a:ea typeface="+mn-ea"/>
          <a:cs typeface="+mn-cs"/>
        </a:defRPr>
      </a:lvl3pPr>
      <a:lvl4pPr marL="1260000" indent="-180000" algn="l" defTabSz="457200" rtl="0" eaLnBrk="1" latinLnBrk="0" hangingPunct="1">
        <a:spcBef>
          <a:spcPct val="20000"/>
        </a:spcBef>
        <a:buClr>
          <a:schemeClr val="accent1"/>
        </a:buClr>
        <a:buSzPct val="120000"/>
        <a:buFont typeface="TT Norms Pro" panose="02000503030000020003" pitchFamily="50" charset="0"/>
        <a:buChar char="•"/>
        <a:defRPr sz="1600" kern="1200" baseline="0">
          <a:solidFill>
            <a:schemeClr val="tx1"/>
          </a:solidFill>
          <a:latin typeface="TT Norms Pro" panose="02000503030000020003" pitchFamily="50" charset="0"/>
          <a:ea typeface="+mn-ea"/>
          <a:cs typeface="+mn-cs"/>
        </a:defRPr>
      </a:lvl4pPr>
      <a:lvl5pPr marL="1620000" indent="-180000" algn="l" defTabSz="457200" rtl="0" eaLnBrk="1" latinLnBrk="0" hangingPunct="1">
        <a:lnSpc>
          <a:spcPct val="150000"/>
        </a:lnSpc>
        <a:spcBef>
          <a:spcPct val="20000"/>
        </a:spcBef>
        <a:buClr>
          <a:schemeClr val="accent1"/>
        </a:buClr>
        <a:buSzPct val="120000"/>
        <a:buFont typeface="TT Norms Pro" panose="02000503030000020003" pitchFamily="50" charset="0"/>
        <a:buChar char="•"/>
        <a:defRPr sz="1600" kern="1200">
          <a:solidFill>
            <a:schemeClr val="tx1"/>
          </a:solidFill>
          <a:latin typeface="TT Norms Pro" panose="02000503030000020003" pitchFamily="50" charset="0"/>
          <a:ea typeface="+mn-ea"/>
          <a:cs typeface="+mn-cs"/>
        </a:defRPr>
      </a:lvl5pPr>
      <a:lvl6pPr marL="1980000" indent="-180000" algn="l" defTabSz="457200" rtl="0" eaLnBrk="1" latinLnBrk="0" hangingPunct="1">
        <a:lnSpc>
          <a:spcPct val="150000"/>
        </a:lnSpc>
        <a:spcBef>
          <a:spcPct val="20000"/>
        </a:spcBef>
        <a:buClr>
          <a:schemeClr val="accent1"/>
        </a:buClr>
        <a:buSzPct val="120000"/>
        <a:buFont typeface="TT Norms Pro" panose="02000503030000020003" pitchFamily="50" charset="0"/>
        <a:buChar char="•"/>
        <a:defRPr sz="1600" kern="1200">
          <a:solidFill>
            <a:schemeClr val="tx1"/>
          </a:solidFill>
          <a:latin typeface="TT Norms Pro" panose="02000503030000020003" pitchFamily="50" charset="0"/>
          <a:ea typeface="+mn-ea"/>
          <a:cs typeface="+mn-cs"/>
        </a:defRPr>
      </a:lvl6pPr>
      <a:lvl7pPr marL="2340000" indent="-180000" algn="l" defTabSz="457200" rtl="0" eaLnBrk="1" latinLnBrk="0" hangingPunct="1">
        <a:lnSpc>
          <a:spcPct val="150000"/>
        </a:lnSpc>
        <a:spcBef>
          <a:spcPct val="20000"/>
        </a:spcBef>
        <a:buClr>
          <a:schemeClr val="accent1"/>
        </a:buClr>
        <a:buSzPct val="120000"/>
        <a:buFont typeface="TT Norms Pro" panose="02000503030000020003" pitchFamily="50" charset="0"/>
        <a:buChar char="•"/>
        <a:defRPr sz="1600" kern="1200">
          <a:solidFill>
            <a:schemeClr val="tx1"/>
          </a:solidFill>
          <a:latin typeface="TT Norms Pro" panose="02000503030000020003" pitchFamily="50" charset="0"/>
          <a:ea typeface="+mn-ea"/>
          <a:cs typeface="+mn-cs"/>
        </a:defRPr>
      </a:lvl7pPr>
      <a:lvl8pPr marL="2700000" indent="-180000" algn="l" defTabSz="457200" rtl="0" eaLnBrk="1" latinLnBrk="0" hangingPunct="1">
        <a:lnSpc>
          <a:spcPct val="150000"/>
        </a:lnSpc>
        <a:spcBef>
          <a:spcPct val="20000"/>
        </a:spcBef>
        <a:buClr>
          <a:schemeClr val="accent1"/>
        </a:buClr>
        <a:buSzPct val="120000"/>
        <a:buFont typeface="TT Norms Pro" panose="02000503030000020003" pitchFamily="50" charset="0"/>
        <a:buChar char="•"/>
        <a:defRPr sz="1600" kern="1200">
          <a:solidFill>
            <a:schemeClr val="tx1"/>
          </a:solidFill>
          <a:latin typeface="TT Norms Pro" panose="02000503030000020003" pitchFamily="50" charset="0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3" orient="horz" pos="516">
          <p15:clr>
            <a:srgbClr val="F26B43"/>
          </p15:clr>
        </p15:guide>
        <p15:guide id="4" orient="horz" pos="397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Security Strategie 2023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6358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teiligt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smtClean="0"/>
              <a:t>Jörg </a:t>
            </a:r>
            <a:r>
              <a:rPr lang="de-DE" dirty="0" err="1" smtClean="0"/>
              <a:t>Utecht</a:t>
            </a:r>
            <a:endParaRPr lang="de-DE" dirty="0" smtClean="0"/>
          </a:p>
          <a:p>
            <a:r>
              <a:rPr lang="de-DE" dirty="0" smtClean="0"/>
              <a:t>Marcus Fienhold</a:t>
            </a:r>
          </a:p>
          <a:p>
            <a:r>
              <a:rPr lang="de-DE" dirty="0" smtClean="0"/>
              <a:t>Volker Dähn</a:t>
            </a:r>
          </a:p>
          <a:p>
            <a:r>
              <a:rPr lang="de-DE" dirty="0" smtClean="0"/>
              <a:t>Christian Langhirt</a:t>
            </a:r>
          </a:p>
          <a:p>
            <a:r>
              <a:rPr lang="de-DE" dirty="0" smtClean="0"/>
              <a:t>Florian Schall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45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177925" y="1647825"/>
            <a:ext cx="5837738" cy="466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3360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2482056" y="2359025"/>
            <a:ext cx="7229475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093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64,64,64,Dark 1"/>
  <p:tag name="MIO_MST_COLOR_2" val="255,255,255,Light 1"/>
  <p:tag name="MIO_MST_COLOR_3" val="119,119,119,Dark 2"/>
  <p:tag name="MIO_MST_COLOR_4" val="178,178,178,Light 2"/>
  <p:tag name="MIO_MST_COLOR_5" val="153,153,153,Accent 1"/>
  <p:tag name="MIO_MST_COLOR_6" val="207,207,207,Accent 2"/>
  <p:tag name="MIO_MST_COLOR_7" val="90,90,90,Accent 3"/>
  <p:tag name="MIO_MST_COLOR_8" val="0,0,0,Accent 4"/>
  <p:tag name="MIO_MST_COLOR_9" val="238,121,0,Accent 5"/>
  <p:tag name="MIO_MST_COLOR_10" val="220,35,40,Accent 6"/>
  <p:tag name="MIO_MST_COLOR_11" val="64,64,64,"/>
  <p:tag name="MIO_MST_COLOR_12" val="0,0,0,"/>
  <p:tag name="MIO_PRESI_FIRST_SLIDENUMBER" val="1"/>
  <p:tag name="MIO_EK" val="0"/>
  <p:tag name="MIO_FALLBACK_LAYOUT" val="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17"/>
  <p:tag name="MIO_HDS" val="True"/>
  <p:tag name="MIO_SKIPVERSION" val="01.01.0001 00:00:00"/>
  <p:tag name="MIO_EKGUID" val="6f23139b-b077-4fc1-85bb-572a215ee555"/>
  <p:tag name="MIO_UPDATE" val="True"/>
  <p:tag name="MIO_VERSION" val="15.11.2021 15:44:01"/>
  <p:tag name="MIO_DBID" val="09676BC7-AF3A-4B9B-957A-663C43BE7BF5"/>
  <p:tag name="MIO_LASTDOWNLOADED" val="04.03.2022 10:32:30"/>
  <p:tag name="MIO_OBJECTNAME" val="Interhyp Gruppe 16:9"/>
  <p:tag name="MIO_LASTEDITORNAME" val="Stephanie Gabriel"/>
  <p:tag name="MIO_CDID" val="ce1f6577-c317-4f06-8aea-7c113bc0088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rhyp Gruppe">
  <a:themeElements>
    <a:clrScheme name="Interhyp Gruppe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579EB0"/>
      </a:accent1>
      <a:accent2>
        <a:srgbClr val="66AB9C"/>
      </a:accent2>
      <a:accent3>
        <a:srgbClr val="75B888"/>
      </a:accent3>
      <a:accent4>
        <a:srgbClr val="83C473"/>
      </a:accent4>
      <a:accent5>
        <a:srgbClr val="92D15F"/>
      </a:accent5>
      <a:accent6>
        <a:srgbClr val="579EB0"/>
      </a:accent6>
      <a:hlink>
        <a:srgbClr val="579EB0"/>
      </a:hlink>
      <a:folHlink>
        <a:srgbClr val="725BAD"/>
      </a:folHlink>
    </a:clrScheme>
    <a:fontScheme name="Interhyp">
      <a:majorFont>
        <a:latin typeface="Calibri 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rgbClr val="B2B2B2"/>
          </a:solidFill>
        </a:ln>
        <a:effectLst/>
      </a:spPr>
      <a:bodyPr rtlCol="0" anchor="t"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err="1" smtClean="0">
            <a:solidFill>
              <a:schemeClr val="tx1"/>
            </a:solidFill>
            <a:latin typeface="TT Norms Pro" panose="02000503030000020003" pitchFamily="50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B2B2B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err="1" smtClean="0">
            <a:solidFill>
              <a:srgbClr val="000000"/>
            </a:solidFill>
            <a:latin typeface="TT Norms Pro" panose="02000503030000020003" pitchFamily="50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</Words>
  <Application>Microsoft Office PowerPoint</Application>
  <PresentationFormat>Breitbild</PresentationFormat>
  <Paragraphs>7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Calibri</vt:lpstr>
      <vt:lpstr>TT Norms Pro</vt:lpstr>
      <vt:lpstr>TT Norms Pro Normal</vt:lpstr>
      <vt:lpstr>Verdana</vt:lpstr>
      <vt:lpstr>Interhyp Gruppe</vt:lpstr>
      <vt:lpstr>think-cell Folie</vt:lpstr>
      <vt:lpstr>Security Strategie 2023</vt:lpstr>
      <vt:lpstr>Beteiligt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lorian Schaller</dc:creator>
  <cp:lastModifiedBy>Schaller, Florian</cp:lastModifiedBy>
  <cp:revision>45</cp:revision>
  <dcterms:created xsi:type="dcterms:W3CDTF">2014-12-11T16:14:04Z</dcterms:created>
  <dcterms:modified xsi:type="dcterms:W3CDTF">2022-03-04T09:36:04Z</dcterms:modified>
</cp:coreProperties>
</file>